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02" r:id="rId5"/>
    <p:sldMasterId id="2147483695" r:id="rId6"/>
    <p:sldMasterId id="2147483701" r:id="rId7"/>
  </p:sldMasterIdLst>
  <p:notesMasterIdLst>
    <p:notesMasterId r:id="rId19"/>
  </p:notesMasterIdLst>
  <p:handoutMasterIdLst>
    <p:handoutMasterId r:id="rId20"/>
  </p:handoutMasterIdLst>
  <p:sldIdLst>
    <p:sldId id="324" r:id="rId8"/>
    <p:sldId id="298" r:id="rId9"/>
    <p:sldId id="281" r:id="rId10"/>
    <p:sldId id="325" r:id="rId11"/>
    <p:sldId id="326" r:id="rId12"/>
    <p:sldId id="317" r:id="rId13"/>
    <p:sldId id="327" r:id="rId14"/>
    <p:sldId id="328" r:id="rId15"/>
    <p:sldId id="331" r:id="rId16"/>
    <p:sldId id="329" r:id="rId17"/>
    <p:sldId id="277" r:id="rId18"/>
  </p:sldIdLst>
  <p:sldSz cx="12192000" cy="6858000"/>
  <p:notesSz cx="6858000" cy="9144000"/>
  <p:custDataLst>
    <p:tags r:id="rId21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A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4EF51E-E784-4ACC-B3C3-37C1D1A807CF}" v="231" dt="2022-09-06T19:34:23.873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jl, licht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Stijl, licht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ijl, licht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72833802-FEF1-4C79-8D5D-14CF1EAF98D9}" styleName="Stijl, licht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Stijl, licht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2679" autoAdjust="0"/>
    <p:restoredTop sz="68438" autoAdjust="0"/>
  </p:normalViewPr>
  <p:slideViewPr>
    <p:cSldViewPr snapToGrid="0" showGuides="1">
      <p:cViewPr varScale="1">
        <p:scale>
          <a:sx n="58" d="100"/>
          <a:sy n="58" d="100"/>
        </p:scale>
        <p:origin x="69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1020"/>
    </p:cViewPr>
  </p:sorterViewPr>
  <p:notesViewPr>
    <p:cSldViewPr snapToGrid="0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3999173E-515A-462C-8E51-1C7D5A4C103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599851D4-8693-4DBA-836B-DB488CDA09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79037F-85A7-42E6-B897-95744D9BD45F}" type="datetime4">
              <a:rPr lang="nl-NL" sz="1000" smtClean="0"/>
              <a:t>7 september 2022</a:t>
            </a:fld>
            <a:endParaRPr lang="nl-NL" sz="100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38124ED1-25C9-4EBF-924E-5D0EEECE166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sz="100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78245366-1964-44F8-B7E5-741170DA5C5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648443-8F8B-4CED-B69E-C3E353E31085}" type="slidenum">
              <a:rPr lang="nl-NL" sz="1000" smtClean="0"/>
              <a:t>‹nr.›</a:t>
            </a:fld>
            <a:endParaRPr lang="nl-NL" sz="1000"/>
          </a:p>
        </p:txBody>
      </p:sp>
    </p:spTree>
    <p:extLst>
      <p:ext uri="{BB962C8B-B14F-4D97-AF65-F5344CB8AC3E}">
        <p14:creationId xmlns:p14="http://schemas.microsoft.com/office/powerpoint/2010/main" val="209339329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4840B3E4-1789-47F8-9E4E-BC7A36243C64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5733747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371522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en-GB" noProof="0" dirty="0"/>
              <a:t>Moved into purpose built library in 1982 and extension for storage in 2007.</a:t>
            </a:r>
          </a:p>
          <a:p>
            <a:pPr algn="l"/>
            <a:r>
              <a:rPr lang="en-GB" noProof="0" dirty="0"/>
              <a:t>At the time fitted with high end, state of the art climate control system. </a:t>
            </a:r>
          </a:p>
          <a:p>
            <a:pPr algn="l"/>
            <a:r>
              <a:rPr lang="en-GB" noProof="0" dirty="0"/>
              <a:t>Consequently our current energy consumption is enormous. I’ll come back to that.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2316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EE1D9B6-DF1F-4FBF-828A-99D873AE59AB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524136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085485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5200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>
            <a:extLst>
              <a:ext uri="{FF2B5EF4-FFF2-40B4-BE49-F238E27FC236}">
                <a16:creationId xmlns:a16="http://schemas.microsoft.com/office/drawing/2014/main" id="{CC2B1D4D-10C1-4E0E-B369-7B228D03C7DD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F. Boersma. Dit document is gemaakt voor de cursus Behoudsmedewerker Archieven, Bibliotheken en Musea (september 2011 – juni 2012).</a:t>
            </a:r>
          </a:p>
        </p:txBody>
      </p:sp>
      <p:sp>
        <p:nvSpPr>
          <p:cNvPr id="265218" name="Rectangle 2">
            <a:extLst>
              <a:ext uri="{FF2B5EF4-FFF2-40B4-BE49-F238E27FC236}">
                <a16:creationId xmlns:a16="http://schemas.microsoft.com/office/drawing/2014/main" id="{778D8D11-5397-498B-8D01-7516499A9D6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5219" name="Rectangle 3">
            <a:extLst>
              <a:ext uri="{FF2B5EF4-FFF2-40B4-BE49-F238E27FC236}">
                <a16:creationId xmlns:a16="http://schemas.microsoft.com/office/drawing/2014/main" id="{798ADA1E-63F6-4980-ABE4-7CF6C1C72D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4796508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91301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01076422-15CD-441A-8895-26F483B027BC}" type="datetime4">
              <a:rPr lang="nl-NL" smtClean="0"/>
              <a:t>7 september 2022</a:t>
            </a:fld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40B3E4-1789-47F8-9E4E-BC7A36243C64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60027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6.xml"/><Relationship Id="rId7" Type="http://schemas.openxmlformats.org/officeDocument/2006/relationships/image" Target="../media/image4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9.xml"/><Relationship Id="rId7" Type="http://schemas.openxmlformats.org/officeDocument/2006/relationships/image" Target="../media/image4.emf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2.xml"/><Relationship Id="rId7" Type="http://schemas.openxmlformats.org/officeDocument/2006/relationships/image" Target="../media/image2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5.xml"/><Relationship Id="rId7" Type="http://schemas.openxmlformats.org/officeDocument/2006/relationships/image" Target="../media/image2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48.xml"/><Relationship Id="rId7" Type="http://schemas.openxmlformats.org/officeDocument/2006/relationships/image" Target="../media/image4.emf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1.xml"/><Relationship Id="rId7" Type="http://schemas.openxmlformats.org/officeDocument/2006/relationships/image" Target="../media/image4.emf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2.xml"/><Relationship Id="rId7" Type="http://schemas.openxmlformats.org/officeDocument/2006/relationships/image" Target="../media/image4.emf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67.xml"/><Relationship Id="rId7" Type="http://schemas.openxmlformats.org/officeDocument/2006/relationships/image" Target="../media/image4.emf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0.xml"/><Relationship Id="rId7" Type="http://schemas.openxmlformats.org/officeDocument/2006/relationships/image" Target="../media/image1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7.xml"/><Relationship Id="rId7" Type="http://schemas.openxmlformats.org/officeDocument/2006/relationships/image" Target="../media/image4.emf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80.xml"/><Relationship Id="rId7" Type="http://schemas.openxmlformats.org/officeDocument/2006/relationships/image" Target="../media/image4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3.xml"/><Relationship Id="rId7" Type="http://schemas.openxmlformats.org/officeDocument/2006/relationships/image" Target="../media/image11.emf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8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8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-pink arrow / gray surfac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1C95644-F107-4656-8216-5CE9C9AEA87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94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1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8155" y="5997365"/>
            <a:ext cx="1768320" cy="576000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8" name="Vrije vorm: vorm 7">
            <a:extLst>
              <a:ext uri="{FF2B5EF4-FFF2-40B4-BE49-F238E27FC236}">
                <a16:creationId xmlns:a16="http://schemas.microsoft.com/office/drawing/2014/main" id="{4824D8FB-E97D-4FBB-8357-B73216B896D1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Space </a:t>
            </a:r>
            <a:r>
              <a:rPr lang="nl-NL" dirty="0" err="1"/>
              <a:t>for</a:t>
            </a:r>
            <a:r>
              <a:rPr lang="nl-NL" dirty="0"/>
              <a:t> Name, </a:t>
            </a:r>
            <a:r>
              <a:rPr lang="nl-NL" dirty="0" err="1"/>
              <a:t>Place</a:t>
            </a:r>
            <a:r>
              <a:rPr lang="nl-NL" dirty="0"/>
              <a:t>, Date</a:t>
            </a:r>
          </a:p>
        </p:txBody>
      </p:sp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FB53A9F7-E054-45DF-9557-2BB97503DB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61AB249C-BA07-46B5-8CA7-3FEA4307F8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solidFill>
            <a:schemeClr val="accent6"/>
          </a:solidFill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program logo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4CE81AA4-452B-4263-AADB-8A6A73786F48}"/>
              </a:ext>
            </a:extLst>
          </p:cNvPr>
          <p:cNvGrpSpPr/>
          <p:nvPr userDrawn="1"/>
        </p:nvGrpSpPr>
        <p:grpSpPr>
          <a:xfrm>
            <a:off x="-1720996" y="1653272"/>
            <a:ext cx="1591456" cy="3940773"/>
            <a:chOff x="-1720996" y="1653272"/>
            <a:chExt cx="1591456" cy="3940773"/>
          </a:xfrm>
        </p:grpSpPr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FAE9815F-C2C6-4F55-90C3-0C601190AB3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653272"/>
              <a:ext cx="1591456" cy="225561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05000"/>
                </a:lnSpc>
                <a:buFontTx/>
                <a:buNone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Wanneer een </a:t>
              </a:r>
              <a:r>
                <a:rPr lang="nl-NL" sz="1000" b="1" noProof="0" dirty="0">
                  <a:solidFill>
                    <a:schemeClr val="tx2"/>
                  </a:solidFill>
                  <a:latin typeface="+mn-lt"/>
                </a:rPr>
                <a:t>logo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n een </a:t>
              </a:r>
              <a:r>
                <a:rPr lang="nl-NL" sz="1000" b="1" noProof="0" dirty="0" err="1">
                  <a:solidFill>
                    <a:schemeClr val="tx2"/>
                  </a:solidFill>
                  <a:latin typeface="+mn-lt"/>
                </a:rPr>
                <a:t>afbeeldingsplaceholder</a:t>
              </a: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 is geplaatst kun je de manier van afbeelden veranderen, indien noodzakelijk: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Selecteer het logo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Ga in het lint naar Hulpmiddelen voor afbeeldingen - </a:t>
              </a:r>
              <a:br>
                <a:rPr lang="nl-NL" sz="1000" noProof="0" dirty="0">
                  <a:solidFill>
                    <a:schemeClr val="tx2"/>
                  </a:solidFill>
                  <a:latin typeface="+mn-lt"/>
                </a:rPr>
              </a:b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Opmaak 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lik op het Bijsnijden gereedschap</a:t>
              </a:r>
            </a:p>
            <a:p>
              <a:pPr marL="135731" indent="-135731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r>
                <a:rPr lang="nl-NL" sz="1000" noProof="0" dirty="0">
                  <a:solidFill>
                    <a:schemeClr val="tx2"/>
                  </a:solidFill>
                  <a:latin typeface="+mn-lt"/>
                </a:rPr>
                <a:t>Kies voor Aanpassen om het logo geheel af te beelden</a:t>
              </a:r>
            </a:p>
          </p:txBody>
        </p:sp>
        <p:cxnSp>
          <p:nvCxnSpPr>
            <p:cNvPr id="19" name="Rechte verbindingslijn 18">
              <a:extLst>
                <a:ext uri="{FF2B5EF4-FFF2-40B4-BE49-F238E27FC236}">
                  <a16:creationId xmlns:a16="http://schemas.microsoft.com/office/drawing/2014/main" id="{9A3526D0-799B-4E56-B59E-26E9660EB0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3968982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736D74EE-F785-45BD-B0A4-EC0FDEC03E2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4029075"/>
              <a:ext cx="1591200" cy="15649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04902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3" name="Vrije vorm: vorm 6">
            <a:extLst>
              <a:ext uri="{FF2B5EF4-FFF2-40B4-BE49-F238E27FC236}">
                <a16:creationId xmlns:a16="http://schemas.microsoft.com/office/drawing/2014/main" id="{394FF74E-F084-DC41-B906-A751CF26C3C5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1" name="Tijdelijke aanduiding voor tekst 11">
            <a:extLst>
              <a:ext uri="{FF2B5EF4-FFF2-40B4-BE49-F238E27FC236}">
                <a16:creationId xmlns:a16="http://schemas.microsoft.com/office/drawing/2014/main" id="{851F6490-B594-464D-A09D-B2B8CB0A41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accent6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8534159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8155485E-B017-4841-B7CE-8DD5B4846E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CD2F4849-EB05-7740-81B2-7C0403D883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accent3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434955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bg1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3723249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0695147-CF3D-4F65-8126-24F9B5077C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6038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bullet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grpSp>
        <p:nvGrpSpPr>
          <p:cNvPr id="14" name="Groep 22">
            <a:extLst>
              <a:ext uri="{FF2B5EF4-FFF2-40B4-BE49-F238E27FC236}">
                <a16:creationId xmlns:a16="http://schemas.microsoft.com/office/drawing/2014/main" id="{0BBC5AA8-D769-419B-8918-32A272EA5241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6167AABA-06F3-4FA8-8139-675CD923683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1430287C-39BC-4CA1-AEC0-08E3E1EB61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7" name="Afbeelding 18">
              <a:extLst>
                <a:ext uri="{FF2B5EF4-FFF2-40B4-BE49-F238E27FC236}">
                  <a16:creationId xmlns:a16="http://schemas.microsoft.com/office/drawing/2014/main" id="{4A98CCB7-CBD0-45D1-926C-C9CDCAE3D0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8" name="Rechte verbindingslijn 21">
              <a:extLst>
                <a:ext uri="{FF2B5EF4-FFF2-40B4-BE49-F238E27FC236}">
                  <a16:creationId xmlns:a16="http://schemas.microsoft.com/office/drawing/2014/main" id="{DA4F534C-B335-4F4D-BE8D-14A8A323E1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10">
            <a:extLst>
              <a:ext uri="{FF2B5EF4-FFF2-40B4-BE49-F238E27FC236}">
                <a16:creationId xmlns:a16="http://schemas.microsoft.com/office/drawing/2014/main" id="{BCF0843F-5D74-4A2D-9207-73A2DD8FC65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CD00D6C-4C0F-4827-B840-207E40D92B0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0774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bullet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A1EBC009-AEB4-4158-B375-4F8FF1EA7112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7D2E15C9-685B-49DB-AC18-354F245E57A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CC1D67FD-CC7D-43C2-B197-497EC7FC2E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7BC7B7EB-665B-4EB9-8AB6-763C38BBC7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51B44825-795E-4094-AC28-C3733067E3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09880598-3EF6-4B78-AE06-C91F07992F8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fullsc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7059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8" name="Tijdelijke aanduiding voor afbeelding 17">
            <a:extLst>
              <a:ext uri="{FF2B5EF4-FFF2-40B4-BE49-F238E27FC236}">
                <a16:creationId xmlns:a16="http://schemas.microsoft.com/office/drawing/2014/main" id="{E56EECF5-0D5D-419D-BA8C-51A1BB5E68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3 h 6858000"/>
              <a:gd name="connsiteX6" fmla="*/ 0 w 12192000"/>
              <a:gd name="connsiteY6" fmla="*/ 144809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3"/>
                </a:lnTo>
                <a:lnTo>
                  <a:pt x="0" y="144809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grpSp>
        <p:nvGrpSpPr>
          <p:cNvPr id="5" name="Groep 22">
            <a:extLst>
              <a:ext uri="{FF2B5EF4-FFF2-40B4-BE49-F238E27FC236}">
                <a16:creationId xmlns:a16="http://schemas.microsoft.com/office/drawing/2014/main" id="{9592FF73-C4A2-4011-AE09-A925FA13B6FF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6" name="Content Placeholder 6">
              <a:extLst>
                <a:ext uri="{FF2B5EF4-FFF2-40B4-BE49-F238E27FC236}">
                  <a16:creationId xmlns:a16="http://schemas.microsoft.com/office/drawing/2014/main" id="{28F46474-3A06-4522-AB7D-D698879B28F6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7" name="Content Placeholder 4">
              <a:extLst>
                <a:ext uri="{FF2B5EF4-FFF2-40B4-BE49-F238E27FC236}">
                  <a16:creationId xmlns:a16="http://schemas.microsoft.com/office/drawing/2014/main" id="{1AED2329-281B-4F66-82B5-7BADFF3D972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0" name="Afbeelding 18">
              <a:extLst>
                <a:ext uri="{FF2B5EF4-FFF2-40B4-BE49-F238E27FC236}">
                  <a16:creationId xmlns:a16="http://schemas.microsoft.com/office/drawing/2014/main" id="{EFF17CCE-75D0-47B0-9EA0-CBE8CA21E0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1" name="Rechte verbindingslijn 21">
              <a:extLst>
                <a:ext uri="{FF2B5EF4-FFF2-40B4-BE49-F238E27FC236}">
                  <a16:creationId xmlns:a16="http://schemas.microsoft.com/office/drawing/2014/main" id="{55785CFE-08F0-4D84-B38A-A0051552B9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86531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in book arrow medi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0041AB0-5F05-4316-8FBC-404D1E8E31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770270" cy="6858000"/>
          </a:xfrm>
          <a:custGeom>
            <a:avLst/>
            <a:gdLst>
              <a:gd name="connsiteX0" fmla="*/ 0 w 5770270"/>
              <a:gd name="connsiteY0" fmla="*/ 0 h 6858000"/>
              <a:gd name="connsiteX1" fmla="*/ 4708634 w 5770270"/>
              <a:gd name="connsiteY1" fmla="*/ 0 h 6858000"/>
              <a:gd name="connsiteX2" fmla="*/ 4708634 w 5770270"/>
              <a:gd name="connsiteY2" fmla="*/ 6607 h 6858000"/>
              <a:gd name="connsiteX3" fmla="*/ 5770270 w 5770270"/>
              <a:gd name="connsiteY3" fmla="*/ 3432303 h 6858000"/>
              <a:gd name="connsiteX4" fmla="*/ 4708634 w 5770270"/>
              <a:gd name="connsiteY4" fmla="*/ 6858000 h 6858000"/>
              <a:gd name="connsiteX5" fmla="*/ 0 w 577027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70270" h="6858000">
                <a:moveTo>
                  <a:pt x="0" y="0"/>
                </a:moveTo>
                <a:lnTo>
                  <a:pt x="4708634" y="0"/>
                </a:lnTo>
                <a:lnTo>
                  <a:pt x="4708634" y="6607"/>
                </a:lnTo>
                <a:lnTo>
                  <a:pt x="5770270" y="3432303"/>
                </a:lnTo>
                <a:lnTo>
                  <a:pt x="47086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433" y="2097088"/>
            <a:ext cx="4870905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38433" y="4723278"/>
            <a:ext cx="4870905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0211646F-01B9-49C3-A99A-85854F20B935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C5B2F212-D014-43B5-BD63-DE91C55030A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22" name="Content Placeholder 4">
              <a:extLst>
                <a:ext uri="{FF2B5EF4-FFF2-40B4-BE49-F238E27FC236}">
                  <a16:creationId xmlns:a16="http://schemas.microsoft.com/office/drawing/2014/main" id="{9BC71B97-31E5-4228-9BAF-9E5B3DAD56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3" name="Afbeelding 18">
              <a:extLst>
                <a:ext uri="{FF2B5EF4-FFF2-40B4-BE49-F238E27FC236}">
                  <a16:creationId xmlns:a16="http://schemas.microsoft.com/office/drawing/2014/main" id="{CF5E3CB5-E7A5-4139-96A8-1E80EF7934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7" name="Rechte verbindingslijn 21">
              <a:extLst>
                <a:ext uri="{FF2B5EF4-FFF2-40B4-BE49-F238E27FC236}">
                  <a16:creationId xmlns:a16="http://schemas.microsoft.com/office/drawing/2014/main" id="{4646711D-2A6D-48D9-B9AF-CFB6C8CC61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1289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in book arrow lar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BF9603F9-7130-4F1D-8665-E7C0D9114E8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155709" cy="6858000"/>
          </a:xfrm>
          <a:custGeom>
            <a:avLst/>
            <a:gdLst>
              <a:gd name="connsiteX0" fmla="*/ 0 w 10155709"/>
              <a:gd name="connsiteY0" fmla="*/ 0 h 6858000"/>
              <a:gd name="connsiteX1" fmla="*/ 9284139 w 10155709"/>
              <a:gd name="connsiteY1" fmla="*/ 0 h 6858000"/>
              <a:gd name="connsiteX2" fmla="*/ 9284139 w 10155709"/>
              <a:gd name="connsiteY2" fmla="*/ 6607 h 6858000"/>
              <a:gd name="connsiteX3" fmla="*/ 10155709 w 10155709"/>
              <a:gd name="connsiteY3" fmla="*/ 3432303 h 6858000"/>
              <a:gd name="connsiteX4" fmla="*/ 9284139 w 10155709"/>
              <a:gd name="connsiteY4" fmla="*/ 6858000 h 6858000"/>
              <a:gd name="connsiteX5" fmla="*/ 0 w 10155709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155709" h="6858000">
                <a:moveTo>
                  <a:pt x="0" y="0"/>
                </a:moveTo>
                <a:lnTo>
                  <a:pt x="9284139" y="0"/>
                </a:lnTo>
                <a:lnTo>
                  <a:pt x="9284139" y="6607"/>
                </a:lnTo>
                <a:lnTo>
                  <a:pt x="10155709" y="3432303"/>
                </a:lnTo>
                <a:lnTo>
                  <a:pt x="9284139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060575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 err="1"/>
              <a:t>TeXt</a:t>
            </a:r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80D68B48-BE43-4184-B4D7-6841CDD36277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44635002-F3EF-4A93-852E-B588A6F91B56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9" name="Content Placeholder 4">
              <a:extLst>
                <a:ext uri="{FF2B5EF4-FFF2-40B4-BE49-F238E27FC236}">
                  <a16:creationId xmlns:a16="http://schemas.microsoft.com/office/drawing/2014/main" id="{9F5CA4A4-502C-4934-96FE-5DAB1B0A1F4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2" name="Afbeelding 18">
              <a:extLst>
                <a:ext uri="{FF2B5EF4-FFF2-40B4-BE49-F238E27FC236}">
                  <a16:creationId xmlns:a16="http://schemas.microsoft.com/office/drawing/2014/main" id="{623E293E-6BE8-480E-8D09-074CC83F5A0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3" name="Rechte verbindingslijn 21">
              <a:extLst>
                <a:ext uri="{FF2B5EF4-FFF2-40B4-BE49-F238E27FC236}">
                  <a16:creationId xmlns:a16="http://schemas.microsoft.com/office/drawing/2014/main" id="{623CCF85-5581-40DF-A7D8-EB7E44B8E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48789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84DCB3B-8759-40BB-B3CC-78BF23195B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81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493307-BD25-46B2-AD2A-A2E2815DE1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7C342768-BC73-4FFE-AA05-B59EA15467B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6A8675C-9E84-4220-AB3C-5D33964EB5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284187"/>
            <a:ext cx="6372000" cy="629468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45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2" name="Tijdelijke aanduiding voor afbeelding 16">
            <a:extLst>
              <a:ext uri="{FF2B5EF4-FFF2-40B4-BE49-F238E27FC236}">
                <a16:creationId xmlns:a16="http://schemas.microsoft.com/office/drawing/2014/main" id="{2BE36E59-13B8-4188-A3AF-07E432F122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grpSp>
        <p:nvGrpSpPr>
          <p:cNvPr id="13" name="Groep 22">
            <a:extLst>
              <a:ext uri="{FF2B5EF4-FFF2-40B4-BE49-F238E27FC236}">
                <a16:creationId xmlns:a16="http://schemas.microsoft.com/office/drawing/2014/main" id="{B48664DB-68D1-46BC-A7F8-8EC59B6DF403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50FE1C18-8AEB-4CD0-8CAE-98A526418B09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5FD4C9CC-29E1-4B74-B024-A8152AEBC2B8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4C6EF562-A7E1-4C08-A619-0111FAE45A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78B2E657-B75A-4256-A506-2F6EFE38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9CCA168D-D345-4915-A096-1BE365AD32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6301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4442DDF2-B4C3-4A44-9CAA-B6434BF24A4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2142E2-81C8-4572-99B1-6586DBE69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44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2142E2-81C8-4572-99B1-6586DBE69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hoek 5" hidden="1">
            <a:extLst>
              <a:ext uri="{FF2B5EF4-FFF2-40B4-BE49-F238E27FC236}">
                <a16:creationId xmlns:a16="http://schemas.microsoft.com/office/drawing/2014/main" id="{15188368-FE70-42B1-AD38-2331F2A368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7CCAF4A-7E7C-4BAB-AF87-C6A08208F0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D4C58D2-E920-4B6E-A95B-96CE6E57B1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6D49A58D-A893-4D94-9945-0D83720D87D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426191B1-5365-7C4A-870E-539C39E6B4E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2" y="2060575"/>
            <a:ext cx="468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bullet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11" name="Tijdelijke aanduiding voor inhoud 2">
            <a:extLst>
              <a:ext uri="{FF2B5EF4-FFF2-40B4-BE49-F238E27FC236}">
                <a16:creationId xmlns:a16="http://schemas.microsoft.com/office/drawing/2014/main" id="{5B2FDE76-0680-7A41-BD95-7D5BAB9A8A7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535734" y="2054222"/>
            <a:ext cx="4680000" cy="36720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remove</a:t>
            </a:r>
            <a:r>
              <a:rPr lang="nl-NL" dirty="0"/>
              <a:t> </a:t>
            </a:r>
            <a:r>
              <a:rPr lang="nl-NL" dirty="0" err="1"/>
              <a:t>bullet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03F80DAB-17E0-4E30-AC89-2824698C3BBE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4265255E-264D-499C-B04C-545178EFB9E7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33A38655-F90F-46CE-ADE5-4E5DAE6EA4E4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8">
              <a:extLst>
                <a:ext uri="{FF2B5EF4-FFF2-40B4-BE49-F238E27FC236}">
                  <a16:creationId xmlns:a16="http://schemas.microsoft.com/office/drawing/2014/main" id="{F5D9505C-3A2C-4FDC-B886-B628431F7A2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21">
              <a:extLst>
                <a:ext uri="{FF2B5EF4-FFF2-40B4-BE49-F238E27FC236}">
                  <a16:creationId xmlns:a16="http://schemas.microsoft.com/office/drawing/2014/main" id="{50AB7953-98A1-4AA5-8AEB-F02C8CC141A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0">
            <a:extLst>
              <a:ext uri="{FF2B5EF4-FFF2-40B4-BE49-F238E27FC236}">
                <a16:creationId xmlns:a16="http://schemas.microsoft.com/office/drawing/2014/main" id="{E843C21B-DB76-44A9-A27A-25BD5743769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966" y="6242965"/>
            <a:ext cx="1096257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101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-blue arrow / light blue surfac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FEF7E98-D6FF-466E-A619-7EC769C7CB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324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30845392-C3B3-4676-BDB3-20C0D19C5E0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5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7202" y="5997365"/>
            <a:ext cx="1750225" cy="576000"/>
          </a:xfrm>
          <a:prstGeom prst="rect">
            <a:avLst/>
          </a:prstGeom>
          <a:solidFill>
            <a:schemeClr val="accent3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Space </a:t>
            </a:r>
            <a:r>
              <a:rPr lang="nl-NL" dirty="0" err="1"/>
              <a:t>for</a:t>
            </a:r>
            <a:r>
              <a:rPr lang="nl-NL" dirty="0"/>
              <a:t> Name, </a:t>
            </a:r>
            <a:r>
              <a:rPr lang="nl-NL" dirty="0" err="1"/>
              <a:t>Place</a:t>
            </a:r>
            <a:r>
              <a:rPr lang="nl-NL" dirty="0"/>
              <a:t>, Date</a:t>
            </a: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86D6E910-A51B-42BD-84B5-4F71A0910BB9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4" name="Tijdelijke aanduiding voor tekst 14">
            <a:extLst>
              <a:ext uri="{FF2B5EF4-FFF2-40B4-BE49-F238E27FC236}">
                <a16:creationId xmlns:a16="http://schemas.microsoft.com/office/drawing/2014/main" id="{EAE0E904-2F1E-4401-A09B-A61F10FFB85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28514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9987A6CA-AB66-4816-B930-D33E2C5AC14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program logo</a:t>
            </a:r>
          </a:p>
        </p:txBody>
      </p:sp>
    </p:spTree>
    <p:extLst>
      <p:ext uri="{BB962C8B-B14F-4D97-AF65-F5344CB8AC3E}">
        <p14:creationId xmlns:p14="http://schemas.microsoft.com/office/powerpoint/2010/main" val="4038862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ADA0A80-CD1E-46A3-A8AF-B306B983C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74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9" name="Picture 7">
            <a:extLst>
              <a:ext uri="{FF2B5EF4-FFF2-40B4-BE49-F238E27FC236}">
                <a16:creationId xmlns:a16="http://schemas.microsoft.com/office/drawing/2014/main" id="{836E2999-E6E9-EC4C-AE31-0B1D4D942DE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2621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6C6748B-DF98-46B1-9D50-B49085D961B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7201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815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2A7C355-0D73-4F66-86D3-5BBF1930B6B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Vrije vorm: vorm 11">
            <a:extLst>
              <a:ext uri="{FF2B5EF4-FFF2-40B4-BE49-F238E27FC236}">
                <a16:creationId xmlns:a16="http://schemas.microsoft.com/office/drawing/2014/main" id="{B5B16DA9-6223-448D-B147-99175A2C6C76}"/>
              </a:ext>
            </a:extLst>
          </p:cNvPr>
          <p:cNvSpPr/>
          <p:nvPr userDrawn="1"/>
        </p:nvSpPr>
        <p:spPr>
          <a:xfrm>
            <a:off x="0" y="-8884"/>
            <a:ext cx="869578" cy="6859029"/>
          </a:xfrm>
          <a:custGeom>
            <a:avLst/>
            <a:gdLst>
              <a:gd name="connsiteX0" fmla="*/ 0 w 869578"/>
              <a:gd name="connsiteY0" fmla="*/ 0 h 6859029"/>
              <a:gd name="connsiteX1" fmla="*/ 869578 w 869578"/>
              <a:gd name="connsiteY1" fmla="*/ 3429515 h 6859029"/>
              <a:gd name="connsiteX2" fmla="*/ 0 w 869578"/>
              <a:gd name="connsiteY2" fmla="*/ 6859029 h 6859029"/>
              <a:gd name="connsiteX3" fmla="*/ 0 w 869578"/>
              <a:gd name="connsiteY3" fmla="*/ 0 h 6859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69578" h="6859029">
                <a:moveTo>
                  <a:pt x="0" y="0"/>
                </a:moveTo>
                <a:lnTo>
                  <a:pt x="869578" y="3429515"/>
                </a:lnTo>
                <a:lnTo>
                  <a:pt x="0" y="685902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8CDCDED-827B-4FAD-8E2C-5A2F6280AE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3000" y="2813150"/>
            <a:ext cx="552599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8377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47BD40-8C19-42F3-B5E4-7C9D3E3877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480B99D-5A9A-4E2D-9480-AC1EF9D605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7BA5689-38BA-4C99-8A9E-4D865B92C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C1DE519-D7F9-4BCB-BA43-7B4C4A2B92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4A6127A-857E-44BD-A5C3-04FAD8AFF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5694" y="6328035"/>
            <a:ext cx="387094" cy="261610"/>
          </a:xfrm>
        </p:spPr>
        <p:txBody>
          <a:bodyPr/>
          <a:lstStyle>
            <a:lvl1pPr>
              <a:defRPr/>
            </a:lvl1pPr>
          </a:lstStyle>
          <a:p>
            <a:fld id="{48FC87CA-153F-4AD1-911C-A5798DA5F7C9}" type="slidenum">
              <a:rPr lang="en-US" altLang="nl-NL"/>
              <a:pPr/>
              <a:t>‹nr.›</a:t>
            </a:fld>
            <a:endParaRPr lang="en-US" altLang="nl-NL"/>
          </a:p>
        </p:txBody>
      </p:sp>
    </p:spTree>
    <p:extLst>
      <p:ext uri="{BB962C8B-B14F-4D97-AF65-F5344CB8AC3E}">
        <p14:creationId xmlns:p14="http://schemas.microsoft.com/office/powerpoint/2010/main" val="389657267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CD00D6C-4C0F-4827-B840-207E40D92B0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A1EBC009-AEB4-4158-B375-4F8FF1EA7112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7D2E15C9-685B-49DB-AC18-354F245E57A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CC1D67FD-CC7D-43C2-B197-497EC7FC2E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7BC7B7EB-665B-4EB9-8AB6-763C38BBC7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51B44825-795E-4094-AC28-C3733067E3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09880598-3EF6-4B78-AE06-C91F07992F84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bg1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Niveau 2</a:t>
            </a:r>
          </a:p>
        </p:txBody>
      </p:sp>
    </p:spTree>
    <p:extLst>
      <p:ext uri="{BB962C8B-B14F-4D97-AF65-F5344CB8AC3E}">
        <p14:creationId xmlns:p14="http://schemas.microsoft.com/office/powerpoint/2010/main" val="13723249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0695147-CF3D-4F65-8126-24F9B5077C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4" name="Groep 22">
            <a:extLst>
              <a:ext uri="{FF2B5EF4-FFF2-40B4-BE49-F238E27FC236}">
                <a16:creationId xmlns:a16="http://schemas.microsoft.com/office/drawing/2014/main" id="{0BBC5AA8-D769-419B-8918-32A272EA5241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6167AABA-06F3-4FA8-8139-675CD923683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1430287C-39BC-4CA1-AEC0-08E3E1EB61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7" name="Afbeelding 18">
              <a:extLst>
                <a:ext uri="{FF2B5EF4-FFF2-40B4-BE49-F238E27FC236}">
                  <a16:creationId xmlns:a16="http://schemas.microsoft.com/office/drawing/2014/main" id="{4A98CCB7-CBD0-45D1-926C-C9CDCAE3D0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8" name="Rechte verbindingslijn 21">
              <a:extLst>
                <a:ext uri="{FF2B5EF4-FFF2-40B4-BE49-F238E27FC236}">
                  <a16:creationId xmlns:a16="http://schemas.microsoft.com/office/drawing/2014/main" id="{DA4F534C-B335-4F4D-BE8D-14A8A323E1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10">
            <a:extLst>
              <a:ext uri="{FF2B5EF4-FFF2-40B4-BE49-F238E27FC236}">
                <a16:creationId xmlns:a16="http://schemas.microsoft.com/office/drawing/2014/main" id="{BCF0843F-5D74-4A2D-9207-73A2DD8FC65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eld in boekpijl medi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0041AB0-5F05-4316-8FBC-404D1E8E31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770270" cy="6858000"/>
          </a:xfrm>
          <a:custGeom>
            <a:avLst/>
            <a:gdLst>
              <a:gd name="connsiteX0" fmla="*/ 0 w 5770270"/>
              <a:gd name="connsiteY0" fmla="*/ 0 h 6858000"/>
              <a:gd name="connsiteX1" fmla="*/ 4708634 w 5770270"/>
              <a:gd name="connsiteY1" fmla="*/ 0 h 6858000"/>
              <a:gd name="connsiteX2" fmla="*/ 4708634 w 5770270"/>
              <a:gd name="connsiteY2" fmla="*/ 6607 h 6858000"/>
              <a:gd name="connsiteX3" fmla="*/ 5770270 w 5770270"/>
              <a:gd name="connsiteY3" fmla="*/ 3432303 h 6858000"/>
              <a:gd name="connsiteX4" fmla="*/ 4708634 w 5770270"/>
              <a:gd name="connsiteY4" fmla="*/ 6858000 h 6858000"/>
              <a:gd name="connsiteX5" fmla="*/ 0 w 577027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70270" h="6858000">
                <a:moveTo>
                  <a:pt x="0" y="0"/>
                </a:moveTo>
                <a:lnTo>
                  <a:pt x="4708634" y="0"/>
                </a:lnTo>
                <a:lnTo>
                  <a:pt x="4708634" y="6607"/>
                </a:lnTo>
                <a:lnTo>
                  <a:pt x="5770270" y="3432303"/>
                </a:lnTo>
                <a:lnTo>
                  <a:pt x="47086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433" y="2097088"/>
            <a:ext cx="4870905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Tekst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38433" y="4723278"/>
            <a:ext cx="4870905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0211646F-01B9-49C3-A99A-85854F20B935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C5B2F212-D014-43B5-BD63-DE91C55030A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22" name="Content Placeholder 4">
              <a:extLst>
                <a:ext uri="{FF2B5EF4-FFF2-40B4-BE49-F238E27FC236}">
                  <a16:creationId xmlns:a16="http://schemas.microsoft.com/office/drawing/2014/main" id="{9BC71B97-31E5-4228-9BAF-9E5B3DAD56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3" name="Afbeelding 18">
              <a:extLst>
                <a:ext uri="{FF2B5EF4-FFF2-40B4-BE49-F238E27FC236}">
                  <a16:creationId xmlns:a16="http://schemas.microsoft.com/office/drawing/2014/main" id="{CF5E3CB5-E7A5-4139-96A8-1E80EF7934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7" name="Rechte verbindingslijn 21">
              <a:extLst>
                <a:ext uri="{FF2B5EF4-FFF2-40B4-BE49-F238E27FC236}">
                  <a16:creationId xmlns:a16="http://schemas.microsoft.com/office/drawing/2014/main" id="{4646711D-2A6D-48D9-B9AF-CFB6C8CC61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1289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/>
              <a:t>Titel deel 1 </a:t>
            </a:r>
            <a:r>
              <a:rPr lang="nl-NL" dirty="0" err="1"/>
              <a:t>linkslijnen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/>
              <a:t>Titel deel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663" y="1854487"/>
            <a:ext cx="9156569" cy="3410248"/>
          </a:xfrm>
          <a:solidFill>
            <a:schemeClr val="bg1"/>
          </a:solidFill>
        </p:spPr>
        <p:txBody>
          <a:bodyPr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Niveau 2</a:t>
            </a:r>
          </a:p>
        </p:txBody>
      </p:sp>
    </p:spTree>
    <p:extLst>
      <p:ext uri="{BB962C8B-B14F-4D97-AF65-F5344CB8AC3E}">
        <p14:creationId xmlns:p14="http://schemas.microsoft.com/office/powerpoint/2010/main" val="13723249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CD00D6C-4C0F-4827-B840-207E40D92B0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54600" y="1710814"/>
            <a:ext cx="7137399" cy="3451122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3530343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A7E260-1607-4A45-B644-31108D08BB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12817FAF-C8BA-4C38-994B-F6309296BF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2" name="Groep 22">
            <a:extLst>
              <a:ext uri="{FF2B5EF4-FFF2-40B4-BE49-F238E27FC236}">
                <a16:creationId xmlns:a16="http://schemas.microsoft.com/office/drawing/2014/main" id="{A1EBC009-AEB4-4158-B375-4F8FF1EA7112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4" name="Content Placeholder 6">
              <a:extLst>
                <a:ext uri="{FF2B5EF4-FFF2-40B4-BE49-F238E27FC236}">
                  <a16:creationId xmlns:a16="http://schemas.microsoft.com/office/drawing/2014/main" id="{7D2E15C9-685B-49DB-AC18-354F245E57A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5" name="Content Placeholder 4">
              <a:extLst>
                <a:ext uri="{FF2B5EF4-FFF2-40B4-BE49-F238E27FC236}">
                  <a16:creationId xmlns:a16="http://schemas.microsoft.com/office/drawing/2014/main" id="{CC1D67FD-CC7D-43C2-B197-497EC7FC2E9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6" name="Afbeelding 18">
              <a:extLst>
                <a:ext uri="{FF2B5EF4-FFF2-40B4-BE49-F238E27FC236}">
                  <a16:creationId xmlns:a16="http://schemas.microsoft.com/office/drawing/2014/main" id="{7BC7B7EB-665B-4EB9-8AB6-763C38BBC7D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7" name="Rechte verbindingslijn 21">
              <a:extLst>
                <a:ext uri="{FF2B5EF4-FFF2-40B4-BE49-F238E27FC236}">
                  <a16:creationId xmlns:a16="http://schemas.microsoft.com/office/drawing/2014/main" id="{51B44825-795E-4094-AC28-C3733067E30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0">
            <a:extLst>
              <a:ext uri="{FF2B5EF4-FFF2-40B4-BE49-F238E27FC236}">
                <a16:creationId xmlns:a16="http://schemas.microsoft.com/office/drawing/2014/main" id="{09880598-3EF6-4B78-AE06-C91F07992F84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87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- golden arrow / white surf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2B6C795-6365-4B26-B1FA-815CCABBC5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309" y="5997365"/>
            <a:ext cx="1754012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Space </a:t>
            </a:r>
            <a:r>
              <a:rPr lang="nl-NL" dirty="0" err="1"/>
              <a:t>for</a:t>
            </a:r>
            <a:r>
              <a:rPr lang="nl-NL" dirty="0"/>
              <a:t> Name, </a:t>
            </a:r>
            <a:r>
              <a:rPr lang="nl-NL" dirty="0" err="1"/>
              <a:t>Place</a:t>
            </a:r>
            <a:r>
              <a:rPr lang="nl-NL" dirty="0"/>
              <a:t>, Date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program logo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85C0B955-5382-8547-BD1C-D12CBBE6CB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3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6927820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en afbeelding 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F0695147-CF3D-4F65-8126-24F9B5077C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5416514 h 6858000"/>
              <a:gd name="connsiteX5" fmla="*/ 504825 w 12192000"/>
              <a:gd name="connsiteY5" fmla="*/ 3432304 h 6858000"/>
              <a:gd name="connsiteX6" fmla="*/ 0 w 12192000"/>
              <a:gd name="connsiteY6" fmla="*/ 1448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5416514"/>
                </a:lnTo>
                <a:lnTo>
                  <a:pt x="504825" y="3432304"/>
                </a:lnTo>
                <a:lnTo>
                  <a:pt x="0" y="14480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1926A24-1AF9-4115-8A05-8F582842F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1926A24-1AF9-4115-8A05-8F582842F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5AE742C6-4EAA-4586-A6B4-8682314DD1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751A05C-7832-4FD4-B351-073B56A71D3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82663" y="2060575"/>
            <a:ext cx="5760000" cy="3673475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l-NL" dirty="0"/>
              <a:t>Backspace om </a:t>
            </a:r>
            <a:r>
              <a:rPr lang="nl-NL" dirty="0" err="1"/>
              <a:t>bullet</a:t>
            </a:r>
            <a:r>
              <a:rPr lang="nl-NL" dirty="0"/>
              <a:t> weg te hal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A33253EC-3BC6-4F9F-9950-D38EFCC7BD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4" y="710813"/>
            <a:ext cx="5760000" cy="553998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Titel</a:t>
            </a:r>
          </a:p>
        </p:txBody>
      </p:sp>
      <p:sp>
        <p:nvSpPr>
          <p:cNvPr id="13" name="Tijdelijke aanduiding voor afbeelding 16">
            <a:extLst>
              <a:ext uri="{FF2B5EF4-FFF2-40B4-BE49-F238E27FC236}">
                <a16:creationId xmlns:a16="http://schemas.microsoft.com/office/drawing/2014/main" id="{F8697454-B9F8-4F8B-AA3D-9892C54FA1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96124" y="1133475"/>
            <a:ext cx="5095875" cy="4600575"/>
          </a:xfrm>
          <a:solidFill>
            <a:schemeClr val="accent1">
              <a:lumMod val="20000"/>
              <a:lumOff val="80000"/>
            </a:schemeClr>
          </a:solidFill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sp>
        <p:nvSpPr>
          <p:cNvPr id="11" name="Tijdelijke aanduiding voor afbeelding 16">
            <a:extLst>
              <a:ext uri="{FF2B5EF4-FFF2-40B4-BE49-F238E27FC236}">
                <a16:creationId xmlns:a16="http://schemas.microsoft.com/office/drawing/2014/main" id="{78EF0444-A6DB-400A-B09D-0973BA247C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4" name="Groep 22">
            <a:extLst>
              <a:ext uri="{FF2B5EF4-FFF2-40B4-BE49-F238E27FC236}">
                <a16:creationId xmlns:a16="http://schemas.microsoft.com/office/drawing/2014/main" id="{0BBC5AA8-D769-419B-8918-32A272EA5241}"/>
              </a:ext>
            </a:extLst>
          </p:cNvPr>
          <p:cNvGrpSpPr/>
          <p:nvPr userDrawn="1"/>
        </p:nvGrpSpPr>
        <p:grpSpPr>
          <a:xfrm>
            <a:off x="-1720996" y="1805672"/>
            <a:ext cx="1591456" cy="3399056"/>
            <a:chOff x="-1720996" y="671513"/>
            <a:chExt cx="1591456" cy="3399056"/>
          </a:xfrm>
        </p:grpSpPr>
        <p:sp>
          <p:nvSpPr>
            <p:cNvPr id="15" name="Content Placeholder 6">
              <a:extLst>
                <a:ext uri="{FF2B5EF4-FFF2-40B4-BE49-F238E27FC236}">
                  <a16:creationId xmlns:a16="http://schemas.microsoft.com/office/drawing/2014/main" id="{6167AABA-06F3-4FA8-8139-675CD9236831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671513"/>
              <a:ext cx="1591456" cy="33009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kleur van de pijl aanpassen:</a:t>
              </a:r>
            </a:p>
          </p:txBody>
        </p:sp>
        <p:sp>
          <p:nvSpPr>
            <p:cNvPr id="16" name="Content Placeholder 4">
              <a:extLst>
                <a:ext uri="{FF2B5EF4-FFF2-40B4-BE49-F238E27FC236}">
                  <a16:creationId xmlns:a16="http://schemas.microsoft.com/office/drawing/2014/main" id="{1430287C-39BC-4CA1-AEC0-08E3E1EB61C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1101793"/>
              <a:ext cx="1591456" cy="10956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7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pijl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7" name="Afbeelding 18">
              <a:extLst>
                <a:ext uri="{FF2B5EF4-FFF2-40B4-BE49-F238E27FC236}">
                  <a16:creationId xmlns:a16="http://schemas.microsoft.com/office/drawing/2014/main" id="{4A98CCB7-CBD0-45D1-926C-C9CDCAE3D0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8" name="Rechte verbindingslijn 21">
              <a:extLst>
                <a:ext uri="{FF2B5EF4-FFF2-40B4-BE49-F238E27FC236}">
                  <a16:creationId xmlns:a16="http://schemas.microsoft.com/office/drawing/2014/main" id="{DA4F534C-B335-4F4D-BE8D-14A8A323E19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Picture 10">
            <a:extLst>
              <a:ext uri="{FF2B5EF4-FFF2-40B4-BE49-F238E27FC236}">
                <a16:creationId xmlns:a16="http://schemas.microsoft.com/office/drawing/2014/main" id="{BCF0843F-5D74-4A2D-9207-73A2DD8FC65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5351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eld in boekpijl medium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0041AB0-5F05-4316-8FBC-404D1E8E31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5770270" cy="6858000"/>
          </a:xfrm>
          <a:custGeom>
            <a:avLst/>
            <a:gdLst>
              <a:gd name="connsiteX0" fmla="*/ 0 w 5770270"/>
              <a:gd name="connsiteY0" fmla="*/ 0 h 6858000"/>
              <a:gd name="connsiteX1" fmla="*/ 4708634 w 5770270"/>
              <a:gd name="connsiteY1" fmla="*/ 0 h 6858000"/>
              <a:gd name="connsiteX2" fmla="*/ 4708634 w 5770270"/>
              <a:gd name="connsiteY2" fmla="*/ 6607 h 6858000"/>
              <a:gd name="connsiteX3" fmla="*/ 5770270 w 5770270"/>
              <a:gd name="connsiteY3" fmla="*/ 3432303 h 6858000"/>
              <a:gd name="connsiteX4" fmla="*/ 4708634 w 5770270"/>
              <a:gd name="connsiteY4" fmla="*/ 6858000 h 6858000"/>
              <a:gd name="connsiteX5" fmla="*/ 0 w 577027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70270" h="6858000">
                <a:moveTo>
                  <a:pt x="0" y="0"/>
                </a:moveTo>
                <a:lnTo>
                  <a:pt x="4708634" y="0"/>
                </a:lnTo>
                <a:lnTo>
                  <a:pt x="4708634" y="6607"/>
                </a:lnTo>
                <a:lnTo>
                  <a:pt x="5770270" y="3432303"/>
                </a:lnTo>
                <a:lnTo>
                  <a:pt x="470863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txBody>
          <a:bodyPr wrap="square" bIns="648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Klik op icoon om afbeelding in te voegen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433" y="2097088"/>
            <a:ext cx="4870905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Tekst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338433" y="4723278"/>
            <a:ext cx="4870905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Subtit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/>
              <a:t>Eventueel programmalogo</a:t>
            </a:r>
          </a:p>
        </p:txBody>
      </p:sp>
      <p:grpSp>
        <p:nvGrpSpPr>
          <p:cNvPr id="16" name="Groep 22">
            <a:extLst>
              <a:ext uri="{FF2B5EF4-FFF2-40B4-BE49-F238E27FC236}">
                <a16:creationId xmlns:a16="http://schemas.microsoft.com/office/drawing/2014/main" id="{0211646F-01B9-49C3-A99A-85854F20B935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7" name="Content Placeholder 6">
              <a:extLst>
                <a:ext uri="{FF2B5EF4-FFF2-40B4-BE49-F238E27FC236}">
                  <a16:creationId xmlns:a16="http://schemas.microsoft.com/office/drawing/2014/main" id="{C5B2F212-D014-43B5-BD63-DE91C55030A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22" name="Content Placeholder 4">
              <a:extLst>
                <a:ext uri="{FF2B5EF4-FFF2-40B4-BE49-F238E27FC236}">
                  <a16:creationId xmlns:a16="http://schemas.microsoft.com/office/drawing/2014/main" id="{9BC71B97-31E5-4228-9BAF-9E5B3DAD56FF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23" name="Afbeelding 18">
              <a:extLst>
                <a:ext uri="{FF2B5EF4-FFF2-40B4-BE49-F238E27FC236}">
                  <a16:creationId xmlns:a16="http://schemas.microsoft.com/office/drawing/2014/main" id="{CF5E3CB5-E7A5-4139-96A8-1E80EF79347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7" name="Rechte verbindingslijn 21">
              <a:extLst>
                <a:ext uri="{FF2B5EF4-FFF2-40B4-BE49-F238E27FC236}">
                  <a16:creationId xmlns:a16="http://schemas.microsoft.com/office/drawing/2014/main" id="{4646711D-2A6D-48D9-B9AF-CFB6C8CC61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312899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3- golden arrow / white surfa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2B6C795-6365-4B26-B1FA-815CCABBC5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nl-NL" sz="2000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F5744E8-65D9-40C8-BDDC-15C0D9822C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9024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EF5744E8-65D9-40C8-BDDC-15C0D9822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25BD721D-5BD2-4967-A8BE-1AE136783F0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4411E6A2-CDF5-4922-B335-07A864E2AEF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5309" y="5997365"/>
            <a:ext cx="1754012" cy="576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AEC249-5928-4F47-AB45-016C450395B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26713D1-1FAA-48C3-B18A-5E2A1991C0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82663" y="5949950"/>
            <a:ext cx="3525581" cy="307777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/>
              <a:t>Space </a:t>
            </a:r>
            <a:r>
              <a:rPr lang="nl-NL" dirty="0" err="1"/>
              <a:t>for</a:t>
            </a:r>
            <a:r>
              <a:rPr lang="nl-NL" dirty="0"/>
              <a:t> Name, </a:t>
            </a:r>
            <a:r>
              <a:rPr lang="nl-NL" dirty="0" err="1"/>
              <a:t>Place</a:t>
            </a:r>
            <a:r>
              <a:rPr lang="nl-NL" dirty="0"/>
              <a:t>, Date</a:t>
            </a:r>
          </a:p>
        </p:txBody>
      </p:sp>
      <p:sp>
        <p:nvSpPr>
          <p:cNvPr id="13" name="Vrije vorm: vorm 12">
            <a:extLst>
              <a:ext uri="{FF2B5EF4-FFF2-40B4-BE49-F238E27FC236}">
                <a16:creationId xmlns:a16="http://schemas.microsoft.com/office/drawing/2014/main" id="{3D22C363-D26B-45E7-A765-0CE3336B3E57}"/>
              </a:ext>
            </a:extLst>
          </p:cNvPr>
          <p:cNvSpPr/>
          <p:nvPr userDrawn="1"/>
        </p:nvSpPr>
        <p:spPr>
          <a:xfrm>
            <a:off x="0" y="0"/>
            <a:ext cx="1114855" cy="6858000"/>
          </a:xfrm>
          <a:custGeom>
            <a:avLst/>
            <a:gdLst>
              <a:gd name="connsiteX0" fmla="*/ 0 w 1114855"/>
              <a:gd name="connsiteY0" fmla="*/ 0 h 6858000"/>
              <a:gd name="connsiteX1" fmla="*/ 243285 w 1114855"/>
              <a:gd name="connsiteY1" fmla="*/ 0 h 6858000"/>
              <a:gd name="connsiteX2" fmla="*/ 243285 w 1114855"/>
              <a:gd name="connsiteY2" fmla="*/ 6607 h 6858000"/>
              <a:gd name="connsiteX3" fmla="*/ 1114855 w 1114855"/>
              <a:gd name="connsiteY3" fmla="*/ 3432303 h 6858000"/>
              <a:gd name="connsiteX4" fmla="*/ 243285 w 1114855"/>
              <a:gd name="connsiteY4" fmla="*/ 6858000 h 6858000"/>
              <a:gd name="connsiteX5" fmla="*/ 243285 w 1114855"/>
              <a:gd name="connsiteY5" fmla="*/ 6851394 h 6858000"/>
              <a:gd name="connsiteX6" fmla="*/ 0 w 1114855"/>
              <a:gd name="connsiteY6" fmla="*/ 6851494 h 6858000"/>
              <a:gd name="connsiteX7" fmla="*/ 0 w 1114855"/>
              <a:gd name="connsiteY7" fmla="*/ 0 h 6858000"/>
              <a:gd name="connsiteX0" fmla="*/ 0 w 1114855"/>
              <a:gd name="connsiteY0" fmla="*/ 0 h 6851494"/>
              <a:gd name="connsiteX1" fmla="*/ 243285 w 1114855"/>
              <a:gd name="connsiteY1" fmla="*/ 0 h 6851494"/>
              <a:gd name="connsiteX2" fmla="*/ 243285 w 1114855"/>
              <a:gd name="connsiteY2" fmla="*/ 6607 h 6851494"/>
              <a:gd name="connsiteX3" fmla="*/ 1114855 w 1114855"/>
              <a:gd name="connsiteY3" fmla="*/ 3432303 h 6851494"/>
              <a:gd name="connsiteX4" fmla="*/ 243285 w 1114855"/>
              <a:gd name="connsiteY4" fmla="*/ 6851394 h 6851494"/>
              <a:gd name="connsiteX5" fmla="*/ 0 w 1114855"/>
              <a:gd name="connsiteY5" fmla="*/ 6851494 h 6851494"/>
              <a:gd name="connsiteX6" fmla="*/ 0 w 1114855"/>
              <a:gd name="connsiteY6" fmla="*/ 0 h 6851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14855" h="6851494">
                <a:moveTo>
                  <a:pt x="0" y="0"/>
                </a:moveTo>
                <a:lnTo>
                  <a:pt x="243285" y="0"/>
                </a:lnTo>
                <a:lnTo>
                  <a:pt x="243285" y="6607"/>
                </a:lnTo>
                <a:lnTo>
                  <a:pt x="1114855" y="3432303"/>
                </a:lnTo>
                <a:lnTo>
                  <a:pt x="243285" y="6851394"/>
                </a:lnTo>
                <a:lnTo>
                  <a:pt x="0" y="68514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sp>
        <p:nvSpPr>
          <p:cNvPr id="12" name="Tijdelijke aanduiding voor tekst 14">
            <a:extLst>
              <a:ext uri="{FF2B5EF4-FFF2-40B4-BE49-F238E27FC236}">
                <a16:creationId xmlns:a16="http://schemas.microsoft.com/office/drawing/2014/main" id="{C7FD398B-17A1-47CD-BBE6-C13D4E7840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9" name="Tijdelijke aanduiding voor afbeelding 16">
            <a:extLst>
              <a:ext uri="{FF2B5EF4-FFF2-40B4-BE49-F238E27FC236}">
                <a16:creationId xmlns:a16="http://schemas.microsoft.com/office/drawing/2014/main" id="{415A715F-C7F7-4B99-8B51-D64EEEF99111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86648" y="5997365"/>
            <a:ext cx="1994400" cy="576000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program logo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85C0B955-5382-8547-BD1C-D12CBBE6CB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35431" y="1739590"/>
            <a:ext cx="9156569" cy="3416872"/>
          </a:xfrm>
          <a:solidFill>
            <a:schemeClr val="accent3"/>
          </a:solidFill>
          <a:ln>
            <a:noFill/>
          </a:ln>
        </p:spPr>
        <p:txBody>
          <a:bodyPr bIns="64800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000"/>
            </a:lvl1pPr>
          </a:lstStyle>
          <a:p>
            <a:r>
              <a:rPr lang="nl-NL" dirty="0"/>
              <a:t>Click on icon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insert</a:t>
            </a:r>
            <a:r>
              <a:rPr lang="nl-NL" dirty="0"/>
              <a:t> image</a:t>
            </a:r>
          </a:p>
        </p:txBody>
      </p:sp>
    </p:spTree>
    <p:extLst>
      <p:ext uri="{BB962C8B-B14F-4D97-AF65-F5344CB8AC3E}">
        <p14:creationId xmlns:p14="http://schemas.microsoft.com/office/powerpoint/2010/main" val="37019447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3" name="Vrije vorm: vorm 6">
            <a:extLst>
              <a:ext uri="{FF2B5EF4-FFF2-40B4-BE49-F238E27FC236}">
                <a16:creationId xmlns:a16="http://schemas.microsoft.com/office/drawing/2014/main" id="{394FF74E-F084-DC41-B906-A751CF26C3C5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8" name="Tijdelijke aanduiding voor tekst 11">
            <a:extLst>
              <a:ext uri="{FF2B5EF4-FFF2-40B4-BE49-F238E27FC236}">
                <a16:creationId xmlns:a16="http://schemas.microsoft.com/office/drawing/2014/main" id="{71485DE0-D01D-5649-8407-98AC9590B5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431" y="1747150"/>
            <a:ext cx="9156569" cy="3410248"/>
          </a:xfrm>
          <a:solidFill>
            <a:schemeClr val="accent1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  <a:p>
            <a:pPr lvl="1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030556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8155485E-B017-4841-B7CE-8DD5B4846E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3" name="Tijdelijke aanduiding voor tekst 11">
            <a:extLst>
              <a:ext uri="{FF2B5EF4-FFF2-40B4-BE49-F238E27FC236}">
                <a16:creationId xmlns:a16="http://schemas.microsoft.com/office/drawing/2014/main" id="{2E269A7E-AF95-3443-B322-C30CAA5834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35431" y="1747150"/>
            <a:ext cx="9156569" cy="3410248"/>
          </a:xfrm>
          <a:solidFill>
            <a:schemeClr val="accent5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827867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B7702C9-AE11-490E-82A2-3ABBC386E9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1274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B7702C9-AE11-490E-82A2-3ABBC386E9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FB132FB0-E92A-40F2-BF86-1B3B35A0084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9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A5EAF1B-6806-4BFC-A9A6-B83DAAFD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8377452A-A6A3-4F19-85B6-F0330ABCE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82663" y="411966"/>
            <a:ext cx="6827837" cy="678647"/>
          </a:xfrm>
        </p:spPr>
        <p:txBody>
          <a:bodyPr wrap="square" anchor="t" anchorCtr="0"/>
          <a:lstStyle>
            <a:lvl1pPr algn="l">
              <a:lnSpc>
                <a:spcPct val="90000"/>
              </a:lnSpc>
              <a:spcBef>
                <a:spcPts val="0"/>
              </a:spcBef>
              <a:defRPr sz="4900"/>
            </a:lvl1pPr>
          </a:lstStyle>
          <a:p>
            <a:r>
              <a:rPr lang="nl-NL" dirty="0" err="1"/>
              <a:t>Title</a:t>
            </a:r>
            <a:r>
              <a:rPr lang="nl-NL" dirty="0"/>
              <a:t> part 1 </a:t>
            </a:r>
            <a:r>
              <a:rPr lang="nl-NL" dirty="0" err="1"/>
              <a:t>left-aligned</a:t>
            </a:r>
            <a:endParaRPr lang="nl-NL" dirty="0"/>
          </a:p>
        </p:txBody>
      </p:sp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1949E2D2-1586-4C5B-A311-57B8EEB4C8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3" y="1119087"/>
            <a:ext cx="6827837" cy="839269"/>
          </a:xfrm>
        </p:spPr>
        <p:txBody>
          <a:bodyPr wrap="square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None/>
              <a:defRPr sz="6000" cap="all" baseline="0">
                <a:latin typeface="+mj-lt"/>
              </a:defRPr>
            </a:lvl1pPr>
          </a:lstStyle>
          <a:p>
            <a:pPr lvl="0"/>
            <a:r>
              <a:rPr lang="nl-NL" dirty="0" err="1"/>
              <a:t>TitlE</a:t>
            </a:r>
            <a:r>
              <a:rPr lang="nl-NL" dirty="0"/>
              <a:t> PART 2</a:t>
            </a:r>
          </a:p>
        </p:txBody>
      </p:sp>
      <p:sp>
        <p:nvSpPr>
          <p:cNvPr id="14" name="Tijdelijke aanduiding voor afbeelding 16">
            <a:extLst>
              <a:ext uri="{FF2B5EF4-FFF2-40B4-BE49-F238E27FC236}">
                <a16:creationId xmlns:a16="http://schemas.microsoft.com/office/drawing/2014/main" id="{E4275016-2E73-4329-9802-93443945009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  <p:sp>
        <p:nvSpPr>
          <p:cNvPr id="11" name="Vrije vorm: vorm 6">
            <a:extLst>
              <a:ext uri="{FF2B5EF4-FFF2-40B4-BE49-F238E27FC236}">
                <a16:creationId xmlns:a16="http://schemas.microsoft.com/office/drawing/2014/main" id="{92242C54-974F-8540-94A2-D8AAB6FDB332}"/>
              </a:ext>
            </a:extLst>
          </p:cNvPr>
          <p:cNvSpPr/>
          <p:nvPr userDrawn="1"/>
        </p:nvSpPr>
        <p:spPr>
          <a:xfrm>
            <a:off x="1" y="1448095"/>
            <a:ext cx="504825" cy="3968419"/>
          </a:xfrm>
          <a:custGeom>
            <a:avLst/>
            <a:gdLst>
              <a:gd name="connsiteX0" fmla="*/ 0 w 504825"/>
              <a:gd name="connsiteY0" fmla="*/ 0 h 3968419"/>
              <a:gd name="connsiteX1" fmla="*/ 504825 w 504825"/>
              <a:gd name="connsiteY1" fmla="*/ 1984209 h 3968419"/>
              <a:gd name="connsiteX2" fmla="*/ 0 w 504825"/>
              <a:gd name="connsiteY2" fmla="*/ 3968419 h 3968419"/>
              <a:gd name="connsiteX3" fmla="*/ 0 w 504825"/>
              <a:gd name="connsiteY3" fmla="*/ 0 h 39684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4825" h="3968419">
                <a:moveTo>
                  <a:pt x="0" y="0"/>
                </a:moveTo>
                <a:lnTo>
                  <a:pt x="504825" y="1984209"/>
                </a:lnTo>
                <a:lnTo>
                  <a:pt x="0" y="3968419"/>
                </a:lnTo>
                <a:lnTo>
                  <a:pt x="0" y="0"/>
                </a:lnTo>
                <a:close/>
              </a:path>
            </a:pathLst>
          </a:custGeom>
          <a:solidFill>
            <a:srgbClr val="CBA0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67312B0C-E62E-4AF7-A98D-8C5A81B4F9C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35431" y="1747150"/>
            <a:ext cx="9156569" cy="3410248"/>
          </a:xfrm>
          <a:solidFill>
            <a:schemeClr val="accent4"/>
          </a:solidFill>
        </p:spPr>
        <p:txBody>
          <a:bodyPr lIns="360000" tIns="468000"/>
          <a:lstStyle>
            <a:lvl1pPr marL="631825" indent="-631825">
              <a:buSzPct val="90000"/>
              <a:buFont typeface="+mj-lt"/>
              <a:buAutoNum type="arabicPeriod"/>
              <a:defRPr>
                <a:latin typeface="+mn-lt"/>
              </a:defRPr>
            </a:lvl1pPr>
            <a:lvl2pPr marL="895350" indent="-266700">
              <a:defRPr sz="2800">
                <a:latin typeface="+mn-lt"/>
              </a:defRPr>
            </a:lvl2pPr>
            <a:lvl3pPr marL="1168400" indent="-268288">
              <a:defRPr sz="2800"/>
            </a:lvl3pPr>
            <a:lvl4pPr marL="1433513" indent="-277813">
              <a:defRPr sz="2800"/>
            </a:lvl4pPr>
            <a:lvl5pPr marL="1706563" indent="-268288">
              <a:defRPr sz="2800"/>
            </a:lvl5pPr>
          </a:lstStyle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079476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ay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03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E7D79693-0C40-445E-8DA9-357EBBC99B88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EF2FD591-3C4E-4144-9513-898C7E1B33F7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1A2C0AE9-4007-4AE7-8717-CC8997C46B9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844BF587-7245-4DD3-AE7C-ADFEFCD4BF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0A76458F-EBBE-4077-85B9-3F6D9B76526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DB5AECAD-E802-4B4A-85E2-5F60A89E280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739008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ligh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Vrije vorm: vorm 6">
            <a:extLst>
              <a:ext uri="{FF2B5EF4-FFF2-40B4-BE49-F238E27FC236}">
                <a16:creationId xmlns:a16="http://schemas.microsoft.com/office/drawing/2014/main" id="{EFB79122-A388-224D-A4F1-CB78CC64F6F7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592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C522188E-C23B-4E49-B726-ABC09C273939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3" name="Content Placeholder 6">
              <a:extLst>
                <a:ext uri="{FF2B5EF4-FFF2-40B4-BE49-F238E27FC236}">
                  <a16:creationId xmlns:a16="http://schemas.microsoft.com/office/drawing/2014/main" id="{1EE05753-8E78-481E-9D06-9A5D66EF3773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4" name="Content Placeholder 4">
              <a:extLst>
                <a:ext uri="{FF2B5EF4-FFF2-40B4-BE49-F238E27FC236}">
                  <a16:creationId xmlns:a16="http://schemas.microsoft.com/office/drawing/2014/main" id="{DEDE3A57-F2FC-4ACB-86AA-753B81A3FE75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726DB542-30A2-40CF-BB21-7DD73FAD1DA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E5A9D727-B47A-4AD4-AA21-96BB43133A4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jdelijke aanduiding voor afbeelding 16">
            <a:extLst>
              <a:ext uri="{FF2B5EF4-FFF2-40B4-BE49-F238E27FC236}">
                <a16:creationId xmlns:a16="http://schemas.microsoft.com/office/drawing/2014/main" id="{F0A71867-1D18-4908-86D4-47BDF70D6F9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4177291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o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2DDAFA9-9C67-409F-8B03-25EFBB7585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3359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2DDAFA9-9C67-409F-8B03-25EFBB7585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hoek 9" hidden="1">
            <a:extLst>
              <a:ext uri="{FF2B5EF4-FFF2-40B4-BE49-F238E27FC236}">
                <a16:creationId xmlns:a16="http://schemas.microsoft.com/office/drawing/2014/main" id="{AB38586A-E5E7-4D48-979C-16CAC40688D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6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9D0A6F-4923-40A0-9734-04172BFAFF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2662" y="2714739"/>
            <a:ext cx="7648381" cy="839269"/>
          </a:xfrm>
        </p:spPr>
        <p:txBody>
          <a:bodyPr anchor="t" anchorCtr="0"/>
          <a:lstStyle>
            <a:lvl1pPr>
              <a:defRPr sz="6000" cap="all" baseline="0">
                <a:latin typeface="+mj-lt"/>
              </a:defRPr>
            </a:lvl1pPr>
          </a:lstStyle>
          <a:p>
            <a:r>
              <a:rPr lang="nl-NL" dirty="0"/>
              <a:t>CHAPTER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167C603-75DA-4445-A170-5F1EFEC5D5C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982662" y="4723278"/>
            <a:ext cx="7648381" cy="415498"/>
          </a:xfrm>
        </p:spPr>
        <p:txBody>
          <a:bodyPr wrap="square">
            <a:spAutoFit/>
          </a:bodyPr>
          <a:lstStyle>
            <a:lvl1pPr marL="0" indent="0">
              <a:buNone/>
              <a:defRPr sz="27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err="1"/>
              <a:t>Subtitle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8D39C43-30E3-4840-8584-668100C86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11EF90-EEA4-4DC0-ADC4-2316CACBDB4E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Vrije vorm: vorm 6">
            <a:extLst>
              <a:ext uri="{FF2B5EF4-FFF2-40B4-BE49-F238E27FC236}">
                <a16:creationId xmlns:a16="http://schemas.microsoft.com/office/drawing/2014/main" id="{CD23658A-EE22-4B85-BCB0-0F9187D18D9F}"/>
              </a:ext>
            </a:extLst>
          </p:cNvPr>
          <p:cNvSpPr/>
          <p:nvPr userDrawn="1"/>
        </p:nvSpPr>
        <p:spPr>
          <a:xfrm>
            <a:off x="9284141" y="0"/>
            <a:ext cx="2907861" cy="6858000"/>
          </a:xfrm>
          <a:custGeom>
            <a:avLst/>
            <a:gdLst>
              <a:gd name="connsiteX0" fmla="*/ 0 w 2907861"/>
              <a:gd name="connsiteY0" fmla="*/ 0 h 6858000"/>
              <a:gd name="connsiteX1" fmla="*/ 2907861 w 2907861"/>
              <a:gd name="connsiteY1" fmla="*/ 0 h 6858000"/>
              <a:gd name="connsiteX2" fmla="*/ 2907861 w 2907861"/>
              <a:gd name="connsiteY2" fmla="*/ 6858000 h 6858000"/>
              <a:gd name="connsiteX3" fmla="*/ 0 w 2907861"/>
              <a:gd name="connsiteY3" fmla="*/ 6858000 h 6858000"/>
              <a:gd name="connsiteX4" fmla="*/ 871570 w 2907861"/>
              <a:gd name="connsiteY4" fmla="*/ 3432303 h 6858000"/>
              <a:gd name="connsiteX5" fmla="*/ 0 w 2907861"/>
              <a:gd name="connsiteY5" fmla="*/ 6607 h 6858000"/>
              <a:gd name="connsiteX6" fmla="*/ 0 w 290786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07861" h="6858000">
                <a:moveTo>
                  <a:pt x="0" y="0"/>
                </a:moveTo>
                <a:lnTo>
                  <a:pt x="2907861" y="0"/>
                </a:lnTo>
                <a:lnTo>
                  <a:pt x="2907861" y="6858000"/>
                </a:lnTo>
                <a:lnTo>
                  <a:pt x="0" y="6858000"/>
                </a:lnTo>
                <a:lnTo>
                  <a:pt x="871570" y="3432303"/>
                </a:lnTo>
                <a:lnTo>
                  <a:pt x="0" y="6607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B5715D46-1ACB-4D6B-BFA3-32D8AE7E70B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3876" y="6242965"/>
            <a:ext cx="1105199" cy="360000"/>
          </a:xfrm>
          <a:prstGeom prst="rect">
            <a:avLst/>
          </a:prstGeom>
        </p:spPr>
      </p:pic>
      <p:sp>
        <p:nvSpPr>
          <p:cNvPr id="9" name="Tijdelijke aanduiding voor tekst 14">
            <a:extLst>
              <a:ext uri="{FF2B5EF4-FFF2-40B4-BE49-F238E27FC236}">
                <a16:creationId xmlns:a16="http://schemas.microsoft.com/office/drawing/2014/main" id="{C592670B-C5A2-49BD-986D-6E6476496F8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661" y="2060575"/>
            <a:ext cx="7648381" cy="685380"/>
          </a:xfrm>
        </p:spPr>
        <p:txBody>
          <a:bodyPr wrap="square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4900" cap="none" baseline="0">
                <a:latin typeface="+mn-lt"/>
              </a:defRPr>
            </a:lvl1pPr>
          </a:lstStyle>
          <a:p>
            <a:pPr lvl="0"/>
            <a:r>
              <a:rPr lang="nl-NL" dirty="0"/>
              <a:t>#</a:t>
            </a:r>
          </a:p>
        </p:txBody>
      </p:sp>
      <p:grpSp>
        <p:nvGrpSpPr>
          <p:cNvPr id="23" name="Groep 22">
            <a:extLst>
              <a:ext uri="{FF2B5EF4-FFF2-40B4-BE49-F238E27FC236}">
                <a16:creationId xmlns:a16="http://schemas.microsoft.com/office/drawing/2014/main" id="{B51771AE-EA9F-4EBE-B4F7-99F39CFFA8C4}"/>
              </a:ext>
            </a:extLst>
          </p:cNvPr>
          <p:cNvGrpSpPr/>
          <p:nvPr userDrawn="1"/>
        </p:nvGrpSpPr>
        <p:grpSpPr>
          <a:xfrm>
            <a:off x="-1720996" y="1653272"/>
            <a:ext cx="1591456" cy="3551456"/>
            <a:chOff x="-1720996" y="519113"/>
            <a:chExt cx="1591456" cy="3551456"/>
          </a:xfrm>
        </p:grpSpPr>
        <p:sp>
          <p:nvSpPr>
            <p:cNvPr id="16" name="Content Placeholder 6">
              <a:extLst>
                <a:ext uri="{FF2B5EF4-FFF2-40B4-BE49-F238E27FC236}">
                  <a16:creationId xmlns:a16="http://schemas.microsoft.com/office/drawing/2014/main" id="{DB9E7F44-52B5-4EE1-89D9-2B9507D8AC7C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720996" y="519113"/>
              <a:ext cx="1591456" cy="32739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achtergrondkleur van de dia aanpassen:</a:t>
              </a:r>
            </a:p>
          </p:txBody>
        </p:sp>
        <p:sp>
          <p:nvSpPr>
            <p:cNvPr id="17" name="Content Placeholder 4">
              <a:extLst>
                <a:ext uri="{FF2B5EF4-FFF2-40B4-BE49-F238E27FC236}">
                  <a16:creationId xmlns:a16="http://schemas.microsoft.com/office/drawing/2014/main" id="{332771B9-0BE0-4AF5-B468-12CD0893ACDB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720996" y="949393"/>
              <a:ext cx="1591456" cy="128035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8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rechtermuisknop op de gekleurd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eur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pic>
          <p:nvPicPr>
            <p:cNvPr id="19" name="Afbeelding 18">
              <a:extLst>
                <a:ext uri="{FF2B5EF4-FFF2-40B4-BE49-F238E27FC236}">
                  <a16:creationId xmlns:a16="http://schemas.microsoft.com/office/drawing/2014/main" id="{BE01B4A2-AE1F-440A-A395-6D9F1BB5FE6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720996" y="2317751"/>
              <a:ext cx="1168545" cy="1752818"/>
            </a:xfrm>
            <a:prstGeom prst="rect">
              <a:avLst/>
            </a:prstGeom>
          </p:spPr>
        </p:pic>
        <p:cxnSp>
          <p:nvCxnSpPr>
            <p:cNvPr id="22" name="Rechte verbindingslijn 21">
              <a:extLst>
                <a:ext uri="{FF2B5EF4-FFF2-40B4-BE49-F238E27FC236}">
                  <a16:creationId xmlns:a16="http://schemas.microsoft.com/office/drawing/2014/main" id="{0A0F4C3B-9F21-4C0B-9C16-653E4A5F5B0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1720996" y="2269019"/>
              <a:ext cx="1591456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ijdelijke aanduiding voor afbeelding 16">
            <a:extLst>
              <a:ext uri="{FF2B5EF4-FFF2-40B4-BE49-F238E27FC236}">
                <a16:creationId xmlns:a16="http://schemas.microsoft.com/office/drawing/2014/main" id="{197869EB-348A-462C-8C86-C5F6A66BD4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60924" y="6178322"/>
            <a:ext cx="1141200" cy="456654"/>
          </a:xfrm>
          <a:noFill/>
        </p:spPr>
        <p:txBody>
          <a:bodyPr wrap="square" bIns="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900"/>
            </a:lvl1pPr>
          </a:lstStyle>
          <a:p>
            <a:r>
              <a:rPr lang="nl-NL" dirty="0" err="1"/>
              <a:t>Possible</a:t>
            </a:r>
            <a:r>
              <a:rPr lang="nl-NL" dirty="0"/>
              <a:t> </a:t>
            </a:r>
            <a:br>
              <a:rPr lang="nl-NL" dirty="0"/>
            </a:br>
            <a:r>
              <a:rPr lang="nl-NL" dirty="0"/>
              <a:t>program logo</a:t>
            </a:r>
          </a:p>
        </p:txBody>
      </p:sp>
    </p:spTree>
    <p:extLst>
      <p:ext uri="{BB962C8B-B14F-4D97-AF65-F5344CB8AC3E}">
        <p14:creationId xmlns:p14="http://schemas.microsoft.com/office/powerpoint/2010/main" val="3110085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26.xml"/><Relationship Id="rId7" Type="http://schemas.openxmlformats.org/officeDocument/2006/relationships/tags" Target="../tags/tag59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58.xml"/><Relationship Id="rId5" Type="http://schemas.openxmlformats.org/officeDocument/2006/relationships/theme" Target="../theme/theme2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27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7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ags" Target="../tags/tag71.xml"/><Relationship Id="rId5" Type="http://schemas.openxmlformats.org/officeDocument/2006/relationships/theme" Target="../theme/theme3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tags" Target="../tags/tag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212020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38" imgH="337" progId="TCLayout.ActiveDocument.1">
                  <p:embed/>
                </p:oleObj>
              </mc:Choice>
              <mc:Fallback>
                <p:oleObj name="think-cell Slide" r:id="rId27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 err="1"/>
              <a:t>Edit</a:t>
            </a:r>
            <a:r>
              <a:rPr lang="nl-NL" dirty="0"/>
              <a:t>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</a:t>
            </a:r>
            <a:r>
              <a:rPr lang="nl-NL" dirty="0"/>
              <a:t> of </a:t>
            </a:r>
            <a:r>
              <a:rPr lang="nl-NL" dirty="0" err="1"/>
              <a:t>the</a:t>
            </a:r>
            <a:r>
              <a:rPr lang="nl-NL" dirty="0"/>
              <a:t> model</a:t>
            </a:r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413" y="6273680"/>
            <a:ext cx="110519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72" r:id="rId4"/>
    <p:sldLayoutId id="2147483673" r:id="rId5"/>
    <p:sldLayoutId id="2147483660" r:id="rId6"/>
    <p:sldLayoutId id="2147483659" r:id="rId7"/>
    <p:sldLayoutId id="2147483658" r:id="rId8"/>
    <p:sldLayoutId id="2147483651" r:id="rId9"/>
    <p:sldLayoutId id="2147483681" r:id="rId10"/>
    <p:sldLayoutId id="2147483682" r:id="rId11"/>
    <p:sldLayoutId id="2147483680" r:id="rId12"/>
    <p:sldLayoutId id="2147483650" r:id="rId13"/>
    <p:sldLayoutId id="2147483662" r:id="rId14"/>
    <p:sldLayoutId id="2147483665" r:id="rId15"/>
    <p:sldLayoutId id="2147483688" r:id="rId16"/>
    <p:sldLayoutId id="2147483687" r:id="rId17"/>
    <p:sldLayoutId id="2147483664" r:id="rId18"/>
    <p:sldLayoutId id="2147483654" r:id="rId19"/>
    <p:sldLayoutId id="2147483666" r:id="rId20"/>
    <p:sldLayoutId id="2147483667" r:id="rId21"/>
    <p:sldLayoutId id="2147483670" r:id="rId22"/>
    <p:sldLayoutId id="2147483704" r:id="rId2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38" imgH="337" progId="TCLayout.ActiveDocument.1">
                  <p:embed/>
                </p:oleObj>
              </mc:Choice>
              <mc:Fallback>
                <p:oleObj name="think-cell Slide" r:id="rId8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2" r:id="rId2"/>
    <p:sldLayoutId id="2147483691" r:id="rId3"/>
    <p:sldLayoutId id="2147483690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38" imgH="337" progId="TCLayout.ActiveDocument.1">
                  <p:embed/>
                </p:oleObj>
              </mc:Choice>
              <mc:Fallback>
                <p:oleObj name="think-cell Slide" r:id="rId8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9413" y="6242966"/>
            <a:ext cx="1139825" cy="32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8" r:id="rId2"/>
    <p:sldLayoutId id="2147483697" r:id="rId3"/>
    <p:sldLayoutId id="2147483696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54890FE-7059-4BD6-8D99-2D2450188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54890FE-7059-4BD6-8D99-2D2450188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hoek 7" hidden="1">
            <a:extLst>
              <a:ext uri="{FF2B5EF4-FFF2-40B4-BE49-F238E27FC236}">
                <a16:creationId xmlns:a16="http://schemas.microsoft.com/office/drawing/2014/main" id="{44AE54F3-3C83-4C7B-BE91-21156EED3C8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4000" b="0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E050413C-5E7C-4D9D-947D-2D488AF6F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63720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/>
              <a:t>Click </a:t>
            </a:r>
            <a:r>
              <a:rPr lang="nl-NL" err="1"/>
              <a:t>toeditstyle</a:t>
            </a:r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B4E1C62A-1C71-4B20-AC3B-AAC50B2D03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82663" y="2060575"/>
            <a:ext cx="10226676" cy="36734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err="1"/>
              <a:t>Edittextstyle</a:t>
            </a:r>
            <a:r>
              <a:rPr lang="nl-NL"/>
              <a:t> of </a:t>
            </a:r>
            <a:r>
              <a:rPr lang="nl-NL" err="1"/>
              <a:t>the</a:t>
            </a:r>
            <a:r>
              <a:rPr lang="nl-NL"/>
              <a:t> model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 err="1"/>
              <a:t>Third</a:t>
            </a:r>
            <a:r>
              <a:rPr lang="nl-NL"/>
              <a:t> level</a:t>
            </a:r>
          </a:p>
          <a:p>
            <a:pPr lvl="3"/>
            <a:r>
              <a:rPr lang="nl-NL" err="1"/>
              <a:t>Fourth</a:t>
            </a:r>
            <a:r>
              <a:rPr lang="nl-NL"/>
              <a:t> level</a:t>
            </a:r>
          </a:p>
          <a:p>
            <a:pPr lvl="4"/>
            <a:r>
              <a:rPr lang="nl-NL" err="1"/>
              <a:t>Fifth</a:t>
            </a:r>
            <a:r>
              <a:rPr lang="nl-NL"/>
              <a:t> level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6A2EFF5-C24E-4BAB-B2DC-1029A5DDD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3584" y="6328035"/>
            <a:ext cx="369204" cy="26161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700">
                <a:solidFill>
                  <a:schemeClr val="tx1"/>
                </a:solidFill>
              </a:defRPr>
            </a:lvl1pPr>
          </a:lstStyle>
          <a:p>
            <a:fld id="{3011EF90-EEA4-4DC0-ADC4-2316CACBDB4E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13" name="Picture 10">
            <a:extLst>
              <a:ext uri="{FF2B5EF4-FFF2-40B4-BE49-F238E27FC236}">
                <a16:creationId xmlns:a16="http://schemas.microsoft.com/office/drawing/2014/main" id="{C272D701-C55F-4960-A352-89DE4C4467B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7413" y="6273680"/>
            <a:ext cx="1105199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616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1081088" indent="-277813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 userDrawn="1">
          <p15:clr>
            <a:srgbClr val="F26B43"/>
          </p15:clr>
        </p15:guide>
        <p15:guide id="2" pos="619" userDrawn="1">
          <p15:clr>
            <a:srgbClr val="F26B43"/>
          </p15:clr>
        </p15:guide>
        <p15:guide id="3" pos="7061" userDrawn="1">
          <p15:clr>
            <a:srgbClr val="F26B43"/>
          </p15:clr>
        </p15:guide>
        <p15:guide id="4" orient="horz" pos="36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1F9AF6-032B-F348-A56F-5D78A416BA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2663" y="411966"/>
            <a:ext cx="10992672" cy="678647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Moving collections in an emergency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662075CF-3530-6745-998F-B366828F97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2663" y="5949950"/>
            <a:ext cx="3525581" cy="923330"/>
          </a:xfrm>
        </p:spPr>
        <p:txBody>
          <a:bodyPr/>
          <a:lstStyle/>
          <a:p>
            <a:r>
              <a:rPr lang="nl-NL" dirty="0"/>
              <a:t>Foekje Boersma</a:t>
            </a:r>
          </a:p>
          <a:p>
            <a:r>
              <a:rPr lang="nl-NL" dirty="0"/>
              <a:t>7 sept 2022</a:t>
            </a:r>
          </a:p>
          <a:p>
            <a:r>
              <a:rPr lang="nl-NL" dirty="0"/>
              <a:t>CERL Summerschool, Vienna</a:t>
            </a:r>
          </a:p>
        </p:txBody>
      </p:sp>
      <p:pic>
        <p:nvPicPr>
          <p:cNvPr id="8" name="Tijdelijke aanduiding voor afbeelding 7" descr="Afbeelding met tekst&#10;&#10;Automatisch gegenereerde beschrijving">
            <a:extLst>
              <a:ext uri="{FF2B5EF4-FFF2-40B4-BE49-F238E27FC236}">
                <a16:creationId xmlns:a16="http://schemas.microsoft.com/office/drawing/2014/main" id="{37015572-688A-DB71-66E1-EE7F30530C8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850205" y="5981542"/>
            <a:ext cx="1994400" cy="576000"/>
          </a:xfr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EEA9BAD2-3310-20E9-5387-0546EAD316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2158" y="6165429"/>
            <a:ext cx="1371600" cy="392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EC52310B-C441-FC70-C239-9C8D996165F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pic>
        <p:nvPicPr>
          <p:cNvPr id="9" name="Tijdelijke aanduiding voor afbeelding 16" descr="Afbeelding met tekst, binnen, persoon, plafond&#10;&#10;Automatisch gegenereerde beschrijving">
            <a:extLst>
              <a:ext uri="{FF2B5EF4-FFF2-40B4-BE49-F238E27FC236}">
                <a16:creationId xmlns:a16="http://schemas.microsoft.com/office/drawing/2014/main" id="{B635BB39-505F-FC4B-F274-859BF559D08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897437" y="1742598"/>
            <a:ext cx="9294564" cy="346836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760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81FF1BC-B7C6-445B-BF90-C37F8D0736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3647" y="1264811"/>
            <a:ext cx="6738321" cy="524333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400" dirty="0">
                <a:solidFill>
                  <a:schemeClr val="bg1">
                    <a:lumMod val="65000"/>
                  </a:schemeClr>
                </a:solidFill>
              </a:rPr>
              <a:t>In addition:</a:t>
            </a:r>
          </a:p>
          <a:p>
            <a:r>
              <a:rPr lang="en-GB" sz="2400" dirty="0">
                <a:solidFill>
                  <a:schemeClr val="bg1">
                    <a:lumMod val="65000"/>
                  </a:schemeClr>
                </a:solidFill>
              </a:rPr>
              <a:t>Creating a risk map</a:t>
            </a:r>
          </a:p>
          <a:p>
            <a:r>
              <a:rPr lang="en-GB" sz="2400" dirty="0">
                <a:solidFill>
                  <a:schemeClr val="bg1">
                    <a:lumMod val="65000"/>
                  </a:schemeClr>
                </a:solidFill>
              </a:rPr>
              <a:t>Plotting collection priorities</a:t>
            </a:r>
          </a:p>
          <a:p>
            <a:r>
              <a:rPr lang="en-GB" sz="2400" dirty="0"/>
              <a:t>Developing 3 disaster scenario scripts with salvage experts</a:t>
            </a:r>
          </a:p>
          <a:p>
            <a:pPr lvl="1"/>
            <a:r>
              <a:rPr lang="en-GB" dirty="0"/>
              <a:t>Evacuation and treatment of large parts of collection</a:t>
            </a:r>
          </a:p>
          <a:p>
            <a:pPr lvl="1"/>
            <a:r>
              <a:rPr lang="en-GB" dirty="0"/>
              <a:t>Indication of costs</a:t>
            </a:r>
          </a:p>
          <a:p>
            <a:r>
              <a:rPr lang="en-GB" sz="2400" dirty="0"/>
              <a:t>Re-connect with security region first aiders (fire brigade)</a:t>
            </a:r>
          </a:p>
          <a:p>
            <a:r>
              <a:rPr lang="en-GB" sz="2400" dirty="0"/>
              <a:t>Creation of waterproof floorplans for use in an emergency</a:t>
            </a:r>
          </a:p>
          <a:p>
            <a:r>
              <a:rPr lang="en-GB" sz="2400" dirty="0"/>
              <a:t>Improve emergency documentation for quick evacuation</a:t>
            </a:r>
          </a:p>
          <a:p>
            <a:r>
              <a:rPr lang="en-GB" sz="2400" dirty="0"/>
              <a:t> </a:t>
            </a:r>
          </a:p>
          <a:p>
            <a:r>
              <a:rPr lang="en-GB" sz="2400" dirty="0"/>
              <a:t>  </a:t>
            </a:r>
          </a:p>
          <a:p>
            <a:endParaRPr lang="en-GB" sz="2400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3310A9C-A425-13F0-2588-D378F098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10243524" cy="553998"/>
          </a:xfrm>
        </p:spPr>
        <p:txBody>
          <a:bodyPr/>
          <a:lstStyle/>
          <a:p>
            <a:r>
              <a:rPr lang="en-GB"/>
              <a:t>What to do for emergency preparedness?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8931CE4-DDFC-35E4-B238-786F50423C9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7" r="1327"/>
          <a:stretch/>
        </p:blipFill>
        <p:spPr bwMode="auto">
          <a:xfrm>
            <a:off x="7622137" y="1264811"/>
            <a:ext cx="4363657" cy="2740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47036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094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B8EC9D6-96E3-4DBD-9588-B6BC152C1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739" y="286383"/>
            <a:ext cx="11409033" cy="553998"/>
          </a:xfrm>
        </p:spPr>
        <p:txBody>
          <a:bodyPr/>
          <a:lstStyle/>
          <a:p>
            <a:r>
              <a:rPr lang="en-GB" sz="4000" dirty="0"/>
              <a:t>KB national library of the Netherlands, The Hague</a:t>
            </a:r>
            <a:endParaRPr lang="nl-NL" dirty="0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F540383E-954C-4398-8748-3EB72AF331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541346"/>
            <a:ext cx="6178876" cy="4123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vak 5">
            <a:extLst>
              <a:ext uri="{FF2B5EF4-FFF2-40B4-BE49-F238E27FC236}">
                <a16:creationId xmlns:a16="http://schemas.microsoft.com/office/drawing/2014/main" id="{C6983E3C-C710-4374-878F-1E0D4ACCD402}"/>
              </a:ext>
            </a:extLst>
          </p:cNvPr>
          <p:cNvSpPr txBox="1"/>
          <p:nvPr/>
        </p:nvSpPr>
        <p:spPr>
          <a:xfrm>
            <a:off x="551739" y="5776221"/>
            <a:ext cx="1032352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/>
              <a:t>1982 main building, reading rooms 			2007 additional storage</a:t>
            </a:r>
          </a:p>
          <a:p>
            <a:r>
              <a:rPr lang="en-US" sz="2000" dirty="0"/>
              <a:t>and (underground) storage</a:t>
            </a:r>
            <a:endParaRPr lang="nl-NL" sz="2000" dirty="0"/>
          </a:p>
        </p:txBody>
      </p:sp>
      <p:pic>
        <p:nvPicPr>
          <p:cNvPr id="8" name="Tijdelijke aanduiding voor afbeelding 6">
            <a:extLst>
              <a:ext uri="{FF2B5EF4-FFF2-40B4-BE49-F238E27FC236}">
                <a16:creationId xmlns:a16="http://schemas.microsoft.com/office/drawing/2014/main" id="{DC84B29D-8199-80D5-031E-8CEA2A17861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430"/>
          <a:stretch/>
        </p:blipFill>
        <p:spPr>
          <a:xfrm>
            <a:off x="718362" y="1541346"/>
            <a:ext cx="4883784" cy="417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46813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A2EFE12-F81A-47E8-A591-D7F3B2FF12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663" y="1197761"/>
            <a:ext cx="9156569" cy="34102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Books	              		3.500.000 </a:t>
            </a:r>
          </a:p>
          <a:p>
            <a:pPr marL="0" indent="0">
              <a:buNone/>
            </a:pPr>
            <a:r>
              <a:rPr lang="en-GB" sz="2400" dirty="0"/>
              <a:t>Periodicals 		   	   700.000 </a:t>
            </a:r>
          </a:p>
          <a:p>
            <a:pPr marL="0" indent="0">
              <a:buNone/>
            </a:pPr>
            <a:r>
              <a:rPr lang="en-GB" sz="2400" dirty="0"/>
              <a:t>Newspaper		    	   100.000</a:t>
            </a:r>
          </a:p>
          <a:p>
            <a:pPr marL="0" indent="0">
              <a:buNone/>
            </a:pPr>
            <a:r>
              <a:rPr lang="en-GB" sz="2400" dirty="0"/>
              <a:t>Special collections	      	   575.000</a:t>
            </a:r>
          </a:p>
          <a:p>
            <a:pPr marL="0" indent="0">
              <a:buNone/>
            </a:pPr>
            <a:r>
              <a:rPr lang="en-GB" sz="2400" dirty="0"/>
              <a:t> </a:t>
            </a:r>
          </a:p>
          <a:p>
            <a:pPr marL="0" indent="0">
              <a:buNone/>
            </a:pPr>
            <a:r>
              <a:rPr lang="en-GB" sz="2400" dirty="0"/>
              <a:t>Total &gt; 4,4 million items</a:t>
            </a:r>
          </a:p>
          <a:p>
            <a:pPr marL="0" indent="0">
              <a:buNone/>
            </a:pPr>
            <a:r>
              <a:rPr lang="en-GB" sz="2400" dirty="0"/>
              <a:t>125 linear kilometres</a:t>
            </a:r>
          </a:p>
          <a:p>
            <a:pPr marL="0" indent="0">
              <a:buNone/>
            </a:pPr>
            <a:endParaRPr lang="en-GB" sz="2400" dirty="0"/>
          </a:p>
        </p:txBody>
      </p:sp>
      <p:pic>
        <p:nvPicPr>
          <p:cNvPr id="89091" name="Picture 3" descr="\\fs-srv-p100.wpakb.kb.nl\users$\FBO030\Documents\KB\V&amp;B\CB\Nieuwbouw\communicatie\werken met woorden\KB magazijn NL collecti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6192" y="519114"/>
            <a:ext cx="4074537" cy="2709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092" name="Picture 4" descr="\\fs-srv-p100.wpakb.kb.nl\users$\FBO030\Documents\KB\V&amp;B\CB\Nieuwbouw\communicatie\werken met woorden\KB magazijn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6192" y="3385662"/>
            <a:ext cx="4074539" cy="271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F5D49D2B-2FD5-420C-810E-A373888AA3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4800" dirty="0"/>
              <a:t>Physical collections</a:t>
            </a:r>
          </a:p>
        </p:txBody>
      </p:sp>
      <p:pic>
        <p:nvPicPr>
          <p:cNvPr id="7" name="Tijdelijke aanduiding voor afbeelding 5">
            <a:extLst>
              <a:ext uri="{FF2B5EF4-FFF2-40B4-BE49-F238E27FC236}">
                <a16:creationId xmlns:a16="http://schemas.microsoft.com/office/drawing/2014/main" id="{8BD128DD-AA06-4F30-8F6E-45294ECCBD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20651" y="3385662"/>
            <a:ext cx="2888083" cy="320439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267714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ekst 4"/>
          <p:cNvSpPr>
            <a:spLocks noGrp="1"/>
          </p:cNvSpPr>
          <p:nvPr>
            <p:ph type="body" sz="quarter" idx="4294967295"/>
          </p:nvPr>
        </p:nvSpPr>
        <p:spPr>
          <a:xfrm>
            <a:off x="540340" y="1375610"/>
            <a:ext cx="6414370" cy="4984533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190473" indent="0">
              <a:spcBef>
                <a:spcPts val="500"/>
              </a:spcBef>
              <a:buNone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urrent location is not ‘future-proof’:</a:t>
            </a:r>
          </a:p>
          <a:p>
            <a:pPr marL="800073" marR="0" lvl="1" indent="-34290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novation is too costly</a:t>
            </a:r>
          </a:p>
          <a:p>
            <a:pPr marL="800073" lvl="1" indent="-342900">
              <a:spcBef>
                <a:spcPts val="500"/>
              </a:spcBef>
              <a:buFontTx/>
              <a:buChar char="-"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ng term exploitation is not sustainable</a:t>
            </a:r>
            <a:r>
              <a:rPr lang="en-GB" sz="2400" dirty="0">
                <a:solidFill>
                  <a:prstClr val="black"/>
                </a:solidFill>
                <a:latin typeface="Calibri"/>
              </a:rPr>
              <a:t>:</a:t>
            </a:r>
          </a:p>
          <a:p>
            <a:pPr marL="1068360" lvl="2" indent="-342900">
              <a:spcBef>
                <a:spcPts val="500"/>
              </a:spcBef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ctive climate control (HVAC)</a:t>
            </a:r>
          </a:p>
          <a:p>
            <a:pPr marL="1068360" lvl="2" indent="-342900">
              <a:spcBef>
                <a:spcPts val="500"/>
              </a:spcBef>
              <a:defRPr/>
            </a:pPr>
            <a:r>
              <a:rPr lang="en-GB" sz="2000" dirty="0">
                <a:solidFill>
                  <a:prstClr val="black"/>
                </a:solidFill>
              </a:rPr>
              <a:t>Systems out of date</a:t>
            </a:r>
          </a:p>
          <a:p>
            <a:pPr marL="1068360" lvl="2" indent="-342900">
              <a:spcBef>
                <a:spcPts val="500"/>
              </a:spcBef>
              <a:defRPr/>
            </a:pPr>
            <a:r>
              <a:rPr lang="en-GB" sz="2000" dirty="0">
                <a:solidFill>
                  <a:prstClr val="black"/>
                </a:solidFill>
              </a:rPr>
              <a:t>Huge replacement costs</a:t>
            </a:r>
          </a:p>
          <a:p>
            <a:pPr marL="1068360" lvl="2" indent="-342900">
              <a:spcBef>
                <a:spcPts val="500"/>
              </a:spcBef>
              <a:defRPr/>
            </a:pPr>
            <a:r>
              <a:rPr lang="en-GB" sz="2000" dirty="0">
                <a:solidFill>
                  <a:prstClr val="black"/>
                </a:solidFill>
              </a:rPr>
              <a:t>Increasing energy costs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GB" sz="24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GB" sz="2400" dirty="0">
                <a:solidFill>
                  <a:prstClr val="black"/>
                </a:solidFill>
                <a:latin typeface="Calibri"/>
              </a:rPr>
              <a:t>Our new storage facility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 not ready until 2026/2028</a:t>
            </a:r>
          </a:p>
          <a:p>
            <a:pPr marL="0" marR="0" lvl="0" indent="0" algn="l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lang="en-GB" sz="2400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r current building is not properly maintained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82663" y="710813"/>
            <a:ext cx="11209335" cy="664797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nl-NL" sz="4800" dirty="0"/>
              <a:t>Challenge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AF824062-A163-4F5B-A134-6ABA24AD7A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96043" y="44499"/>
            <a:ext cx="5412828" cy="3612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Afbeelding 3" descr="Afbeelding met tekst, buiten&#10;&#10;Automatisch gegenereerde beschrijving">
            <a:extLst>
              <a:ext uri="{FF2B5EF4-FFF2-40B4-BE49-F238E27FC236}">
                <a16:creationId xmlns:a16="http://schemas.microsoft.com/office/drawing/2014/main" id="{635E7DC8-1C2F-E430-CD8E-84EFC8C79C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96041" y="3853738"/>
            <a:ext cx="5412829" cy="278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907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tekst 4"/>
          <p:cNvSpPr>
            <a:spLocks noGrp="1"/>
          </p:cNvSpPr>
          <p:nvPr>
            <p:ph type="body" sz="quarter" idx="4294967295"/>
          </p:nvPr>
        </p:nvSpPr>
        <p:spPr>
          <a:xfrm>
            <a:off x="632166" y="1850735"/>
            <a:ext cx="6414370" cy="4984533"/>
          </a:xfrm>
          <a:solidFill>
            <a:schemeClr val="bg1"/>
          </a:solidFill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100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lang="en-GB" sz="2400" dirty="0">
                <a:solidFill>
                  <a:prstClr val="black"/>
                </a:solidFill>
                <a:latin typeface="Calibri"/>
              </a:rPr>
              <a:t>Installations and systems (hardware and software) in current building are beyond lifetime.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00073" marR="0" lvl="1" indent="-34290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d risk for flooding</a:t>
            </a:r>
          </a:p>
          <a:p>
            <a:pPr marL="800073" marR="0" lvl="1" indent="-34290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d risk for fire</a:t>
            </a:r>
          </a:p>
          <a:p>
            <a:pPr marL="800073" marR="0" lvl="1" indent="-342900" algn="l" defTabSz="914400" rtl="0" eaLnBrk="1" fontAlgn="auto" latinLnBrk="0" hangingPunct="1">
              <a:spcBef>
                <a:spcPts val="5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reased risk for mould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82663" y="710813"/>
            <a:ext cx="11209335" cy="664797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nl-NL" sz="4800" dirty="0"/>
              <a:t>Challenge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10DE8175-07AE-B71F-A7FB-0458161055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00" y="-22732"/>
            <a:ext cx="51435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293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vak 5">
            <a:extLst>
              <a:ext uri="{FF2B5EF4-FFF2-40B4-BE49-F238E27FC236}">
                <a16:creationId xmlns:a16="http://schemas.microsoft.com/office/drawing/2014/main" id="{D00D9454-DB26-4EAB-94BF-8EDF2E8D5E90}"/>
              </a:ext>
            </a:extLst>
          </p:cNvPr>
          <p:cNvSpPr txBox="1"/>
          <p:nvPr/>
        </p:nvSpPr>
        <p:spPr>
          <a:xfrm>
            <a:off x="3831494" y="43201"/>
            <a:ext cx="4136850" cy="3053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l-NL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31 May 2019 KB national library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ean water from a burst drainage pipe leaked about 8.000 liters in the underground storage.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excess water was quickly removed, but it took several days for the concrete to dry and the RH to drop below 60%. Building driers were used to collect the moisture from the air.</a:t>
            </a:r>
          </a:p>
        </p:txBody>
      </p:sp>
      <p:pic>
        <p:nvPicPr>
          <p:cNvPr id="3" name="Afbeelding 2" descr="Afbeelding met tekst, binnen, vloer&#10;&#10;Automatisch gegenereerde beschrijving">
            <a:extLst>
              <a:ext uri="{FF2B5EF4-FFF2-40B4-BE49-F238E27FC236}">
                <a16:creationId xmlns:a16="http://schemas.microsoft.com/office/drawing/2014/main" id="{377D37FF-1C8F-49E5-841B-AD7F62A6DE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7625" cy="6858000"/>
          </a:xfrm>
          <a:prstGeom prst="rect">
            <a:avLst/>
          </a:prstGeom>
        </p:spPr>
      </p:pic>
      <p:pic>
        <p:nvPicPr>
          <p:cNvPr id="5" name="Afbeelding 4" descr="Afbeelding met tekst, binnen, bibliotheek, plafond&#10;&#10;Automatisch gegenereerde beschrijving">
            <a:extLst>
              <a:ext uri="{FF2B5EF4-FFF2-40B4-BE49-F238E27FC236}">
                <a16:creationId xmlns:a16="http://schemas.microsoft.com/office/drawing/2014/main" id="{0E8E4443-4C6E-4BA4-A53B-F67AD856C84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74000" y="0"/>
            <a:ext cx="4318000" cy="6858000"/>
          </a:xfrm>
          <a:prstGeom prst="rect">
            <a:avLst/>
          </a:prstGeom>
        </p:spPr>
      </p:pic>
      <p:pic>
        <p:nvPicPr>
          <p:cNvPr id="8" name="Afbeelding 7" descr="Afbeelding met tekst, persoon&#10;&#10;Automatisch gegenereerde beschrijving">
            <a:extLst>
              <a:ext uri="{FF2B5EF4-FFF2-40B4-BE49-F238E27FC236}">
                <a16:creationId xmlns:a16="http://schemas.microsoft.com/office/drawing/2014/main" id="{EBDB0DBF-5382-49E7-9B8D-0D0BA56B48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620965" y="3720361"/>
            <a:ext cx="4267200" cy="32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351521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81FF1BC-B7C6-445B-BF90-C37F8D0736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3" y="2060575"/>
            <a:ext cx="9031670" cy="367347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2400" dirty="0"/>
              <a:t>Standard practice:</a:t>
            </a:r>
          </a:p>
          <a:p>
            <a:r>
              <a:rPr lang="en-GB" sz="2400" dirty="0"/>
              <a:t>Update emergency preparedness plan</a:t>
            </a:r>
          </a:p>
          <a:p>
            <a:r>
              <a:rPr lang="en-GB" sz="2400" dirty="0"/>
              <a:t>Emergency organisation: crisis team, collection-help-team</a:t>
            </a:r>
          </a:p>
          <a:p>
            <a:r>
              <a:rPr lang="en-GB" sz="2400" dirty="0"/>
              <a:t>Staff training in crisis management, collection salvage, fire extinguishing</a:t>
            </a:r>
          </a:p>
          <a:p>
            <a:r>
              <a:rPr lang="en-GB" sz="2400" dirty="0"/>
              <a:t>Regular exercises – table top and simulations</a:t>
            </a:r>
          </a:p>
          <a:p>
            <a:endParaRPr lang="en-GB" sz="2400" dirty="0"/>
          </a:p>
          <a:p>
            <a:pPr marL="0" indent="0">
              <a:buNone/>
            </a:pPr>
            <a:r>
              <a:rPr lang="en-GB" sz="2400" dirty="0"/>
              <a:t>In addition:</a:t>
            </a:r>
          </a:p>
          <a:p>
            <a:r>
              <a:rPr lang="en-GB" sz="2400" dirty="0"/>
              <a:t>Creating a risk map</a:t>
            </a:r>
          </a:p>
          <a:p>
            <a:r>
              <a:rPr lang="en-GB" sz="2400" dirty="0"/>
              <a:t>Plotting collection priorities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3310A9C-A425-13F0-2588-D378F0985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4" y="710813"/>
            <a:ext cx="10243524" cy="553998"/>
          </a:xfrm>
        </p:spPr>
        <p:txBody>
          <a:bodyPr/>
          <a:lstStyle/>
          <a:p>
            <a:r>
              <a:rPr lang="en-GB"/>
              <a:t>What to do for emergency preparedness?</a:t>
            </a:r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64D90BBD-A01E-8512-DF2C-8F2AC365DBC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4FC63F73-E909-7584-559E-70EE0C3DA8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722661">
            <a:off x="8840811" y="1682577"/>
            <a:ext cx="2722626" cy="38422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003901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CE89502-7883-4C88-BE8C-C2BD0A9521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F94BAF-1ED2-FE4D-0987-7B3473453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E3ACBD05-DBA7-49A8-F75A-7E31CC6D00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EE12F0C1-CBA3-A82B-3936-AA1F6FBFF9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617" y="0"/>
            <a:ext cx="954001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8583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CE89502-7883-4C88-BE8C-C2BD0A9521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BF94BAF-1ED2-FE4D-0987-7B3473453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afbeelding 4">
            <a:extLst>
              <a:ext uri="{FF2B5EF4-FFF2-40B4-BE49-F238E27FC236}">
                <a16:creationId xmlns:a16="http://schemas.microsoft.com/office/drawing/2014/main" id="{E3ACBD05-DBA7-49A8-F75A-7E31CC6D006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8B362CA3-36B9-80D9-8748-A24A55B340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4917" y="0"/>
            <a:ext cx="963729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502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h.ZcuTQC29OzZS5XIaE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MZKsr8R02vNdL0V4TCM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9_Md4KS7Oa9dvfHyAl5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O5Sm9RManOmQqNTOWi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6htPyTY6.9pvww76og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SPlwWRpiaQfWejWYT7A"/>
</p:tagLst>
</file>

<file path=ppt/theme/theme1.xml><?xml version="1.0" encoding="utf-8"?>
<a:theme xmlns:a="http://schemas.openxmlformats.org/drawingml/2006/main" name="KB Nationale Bibliotheek">
  <a:themeElements>
    <a:clrScheme name="KB kleur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Template_-_UK.pptx" id="{78673B72-B84A-4F0F-A58C-7CDD3105DCA5}" vid="{C0016B59-FA06-4F5C-A69A-CB3D924030AE}"/>
    </a:ext>
  </a:extLst>
</a:theme>
</file>

<file path=ppt/theme/theme2.xml><?xml version="1.0" encoding="utf-8"?>
<a:theme xmlns:a="http://schemas.openxmlformats.org/drawingml/2006/main" name="KB Nationale Bibliotheek">
  <a:themeElements>
    <a:clrScheme name="KB kleur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Koninklijke Bibliotheek V2.potx" id="{12A3A1DB-AA59-4B42-A738-200D5C292195}" vid="{BFEA44D8-1DCC-4C99-B15A-DC777827534C}"/>
    </a:ext>
  </a:extLst>
</a:theme>
</file>

<file path=ppt/theme/theme3.xml><?xml version="1.0" encoding="utf-8"?>
<a:theme xmlns:a="http://schemas.openxmlformats.org/drawingml/2006/main" name="KB Nationale Bibliotheek">
  <a:themeElements>
    <a:clrScheme name="KB kleur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Koninklijke Bibliotheek V2.potx" id="{12A3A1DB-AA59-4B42-A738-200D5C292195}" vid="{BFEA44D8-1DCC-4C99-B15A-DC777827534C}"/>
    </a:ext>
  </a:extLst>
</a:theme>
</file>

<file path=ppt/theme/theme4.xml><?xml version="1.0" encoding="utf-8"?>
<a:theme xmlns:a="http://schemas.openxmlformats.org/drawingml/2006/main" name="KB Nationale Bibliotheek">
  <a:themeElements>
    <a:clrScheme name="KB kleur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_Template_-_UK.pptx" id="{78673B72-B84A-4F0F-A58C-7CDD3105DCA5}" vid="{C0016B59-FA06-4F5C-A69A-CB3D924030AE}"/>
    </a:ext>
  </a:extLst>
</a:theme>
</file>

<file path=ppt/theme/theme5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antoorthema">
  <a:themeElements>
    <a:clrScheme name="KB Nationale Bibliothee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CBA052"/>
      </a:accent1>
      <a:accent2>
        <a:srgbClr val="ECDCC8"/>
      </a:accent2>
      <a:accent3>
        <a:srgbClr val="9CDBD9"/>
      </a:accent3>
      <a:accent4>
        <a:srgbClr val="407EC9"/>
      </a:accent4>
      <a:accent5>
        <a:srgbClr val="EF6079"/>
      </a:accent5>
      <a:accent6>
        <a:srgbClr val="E3E8E3"/>
      </a:accent6>
      <a:hlink>
        <a:srgbClr val="000000"/>
      </a:hlink>
      <a:folHlink>
        <a:srgbClr val="000000"/>
      </a:folHlink>
    </a:clrScheme>
    <a:fontScheme name="KB Nationale Bibliotheek">
      <a:majorFont>
        <a:latin typeface="Garamond"/>
        <a:ea typeface=""/>
        <a:cs typeface=""/>
      </a:majorFont>
      <a:minorFont>
        <a:latin typeface="Calibri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0C223A081B1F648BF661604AEA932C2" ma:contentTypeVersion="9" ma:contentTypeDescription="Ein neues Dokument erstellen." ma:contentTypeScope="" ma:versionID="7a665adf4558ddd9de3ccfe899ab9692">
  <xsd:schema xmlns:xsd="http://www.w3.org/2001/XMLSchema" xmlns:xs="http://www.w3.org/2001/XMLSchema" xmlns:p="http://schemas.microsoft.com/office/2006/metadata/properties" xmlns:ns2="bfc9929b-3242-4bbb-8782-2a88759adf68" xmlns:ns3="9233b2a3-b919-4278-a7c7-ed9e1eafb2c5" targetNamespace="http://schemas.microsoft.com/office/2006/metadata/properties" ma:root="true" ma:fieldsID="f8c9615dad88378fa04605449acb122d" ns2:_="" ns3:_="">
    <xsd:import namespace="bfc9929b-3242-4bbb-8782-2a88759adf68"/>
    <xsd:import namespace="9233b2a3-b919-4278-a7c7-ed9e1eafb2c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c9929b-3242-4bbb-8782-2a88759adf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Bildmarkierungen" ma:readOnly="false" ma:fieldId="{5cf76f15-5ced-4ddc-b409-7134ff3c332f}" ma:taxonomyMulti="true" ma:sspId="eb3b36d6-0faa-4855-a8d6-bc4feed7827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33b2a3-b919-4278-a7c7-ed9e1eafb2c5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04155fe9-4cdb-48c8-82ff-e441dcc5d90a}" ma:internalName="TaxCatchAll" ma:showField="CatchAllData" ma:web="9233b2a3-b919-4278-a7c7-ed9e1eafb2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233b2a3-b919-4278-a7c7-ed9e1eafb2c5" xsi:nil="true"/>
    <lcf76f155ced4ddcb4097134ff3c332f xmlns="bfc9929b-3242-4bbb-8782-2a88759adf6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8B62CAE-1EDD-4A44-B95D-70F8FA9BEB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B256582-96ED-431A-B8C1-1250E5564300}"/>
</file>

<file path=customXml/itemProps3.xml><?xml version="1.0" encoding="utf-8"?>
<ds:datastoreItem xmlns:ds="http://schemas.openxmlformats.org/officeDocument/2006/customXml" ds:itemID="{662F352F-6E35-4809-8917-0D32D42C5F17}">
  <ds:schemaRefs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terms/"/>
    <ds:schemaRef ds:uri="http://schemas.openxmlformats.org/package/2006/metadata/core-properties"/>
    <ds:schemaRef ds:uri="9e203fb5-0c3b-4e5b-97e8-99f86fb8f1f4"/>
    <ds:schemaRef ds:uri="3ad68f93-a976-4229-8a8b-ca9fe24e0922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2_presentatie_Engels</Template>
  <TotalTime>220</TotalTime>
  <Words>411</Words>
  <Application>Microsoft Office PowerPoint</Application>
  <PresentationFormat>Breedbeeld</PresentationFormat>
  <Paragraphs>75</Paragraphs>
  <Slides>11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9" baseType="lpstr">
      <vt:lpstr>Arial</vt:lpstr>
      <vt:lpstr>Calibri</vt:lpstr>
      <vt:lpstr>Garamond</vt:lpstr>
      <vt:lpstr>KB Nationale Bibliotheek</vt:lpstr>
      <vt:lpstr>KB Nationale Bibliotheek</vt:lpstr>
      <vt:lpstr>KB Nationale Bibliotheek</vt:lpstr>
      <vt:lpstr>KB Nationale Bibliotheek</vt:lpstr>
      <vt:lpstr>think-cell Slide</vt:lpstr>
      <vt:lpstr>Moving collections in an emergency</vt:lpstr>
      <vt:lpstr>KB national library of the Netherlands, The Hague</vt:lpstr>
      <vt:lpstr>Physical collections</vt:lpstr>
      <vt:lpstr>Challenge</vt:lpstr>
      <vt:lpstr>Challenge</vt:lpstr>
      <vt:lpstr>PowerPoint-presentatie</vt:lpstr>
      <vt:lpstr>What to do for emergency preparedness?</vt:lpstr>
      <vt:lpstr>PowerPoint-presentatie</vt:lpstr>
      <vt:lpstr>PowerPoint-presentatie</vt:lpstr>
      <vt:lpstr>What to do for emergency preparedness?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Foekje Boersma</dc:creator>
  <cp:lastModifiedBy>Foekje Boersma</cp:lastModifiedBy>
  <cp:revision>6</cp:revision>
  <dcterms:created xsi:type="dcterms:W3CDTF">2022-08-22T04:13:53Z</dcterms:created>
  <dcterms:modified xsi:type="dcterms:W3CDTF">2022-09-07T13:35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C223A081B1F648BF661604AEA932C2</vt:lpwstr>
  </property>
  <property fmtid="{D5CDD505-2E9C-101B-9397-08002B2CF9AE}" pid="3" name="MediaServiceImageTags">
    <vt:lpwstr/>
  </property>
</Properties>
</file>